
<file path=[Content_Types].xml><?xml version="1.0" encoding="utf-8"?>
<Types xmlns="http://schemas.openxmlformats.org/package/2006/content-types">
  <Default Extension="png" ContentType="image/png"/>
  <Default Extension="jpeg" ContentType="image/jpe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notesSlides/notesSlide1.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5"/>
  </p:notesMasterIdLst>
  <p:sldIdLst>
    <p:sldId id="258" r:id="rId2"/>
    <p:sldId id="257" r:id="rId3"/>
    <p:sldId id="259" r:id="rId4"/>
  </p:sldIdLst>
  <p:sldSz cx="9144000" cy="6858000" type="screen4x3"/>
  <p:notesSz cx="6797675" cy="9926638"/>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snapVertSplitter="1" vertBarState="minimized" horzBarState="maximized">
    <p:restoredLeft sz="15620"/>
    <p:restoredTop sz="94660"/>
  </p:normalViewPr>
  <p:slideViewPr>
    <p:cSldViewPr>
      <p:cViewPr>
        <p:scale>
          <a:sx n="125" d="100"/>
          <a:sy n="125" d="100"/>
        </p:scale>
        <p:origin x="237" y="-1425"/>
      </p:cViewPr>
      <p:guideLst>
        <p:guide orient="horz" pos="2160"/>
        <p:guide pos="2880"/>
      </p:guideLst>
    </p:cSldViewPr>
  </p:slideViewPr>
  <p:notesTextViewPr>
    <p:cViewPr>
      <p:scale>
        <a:sx n="1" d="1"/>
        <a:sy n="1" d="1"/>
      </p:scale>
      <p:origin x="0" y="0"/>
    </p:cViewPr>
  </p:notesTextViewPr>
  <p:sorterViewPr>
    <p:cViewPr>
      <p:scale>
        <a:sx n="100" d="100"/>
        <a:sy n="100" d="100"/>
      </p:scale>
      <p:origin x="0" y="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 Target="slides/slide2.xml"/><Relationship Id="rId7" Type="http://schemas.openxmlformats.org/officeDocument/2006/relationships/viewProps" Target="viewProps.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presProps" Target="presProps.xml"/><Relationship Id="rId5" Type="http://schemas.openxmlformats.org/officeDocument/2006/relationships/notesMaster" Target="notesMasters/notesMaster1.xml"/><Relationship Id="rId4" Type="http://schemas.openxmlformats.org/officeDocument/2006/relationships/slide" Target="slides/slide3.xml"/><Relationship Id="rId9" Type="http://schemas.openxmlformats.org/officeDocument/2006/relationships/tableStyles" Target="tableStyles.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5CF2707B-2D2E-4A50-945C-7FDC876D1351}" type="doc">
      <dgm:prSet loTypeId="urn:microsoft.com/office/officeart/2005/8/layout/orgChart1" loCatId="hierarchy" qsTypeId="urn:microsoft.com/office/officeart/2005/8/quickstyle/simple1" qsCatId="simple" csTypeId="urn:microsoft.com/office/officeart/2005/8/colors/accent1_2" csCatId="accent1" phldr="1"/>
      <dgm:spPr/>
      <dgm:t>
        <a:bodyPr/>
        <a:lstStyle/>
        <a:p>
          <a:endParaRPr lang="en-NZ"/>
        </a:p>
      </dgm:t>
    </dgm:pt>
    <dgm:pt modelId="{377B4E35-802C-4BB6-9369-8CE4971AD27C}">
      <dgm:prSet phldrT="[Text]"/>
      <dgm:spPr>
        <a:solidFill>
          <a:srgbClr val="0070C0"/>
        </a:solidFill>
        <a:ln>
          <a:solidFill>
            <a:schemeClr val="tx2">
              <a:lumMod val="60000"/>
              <a:lumOff val="40000"/>
            </a:schemeClr>
          </a:solidFill>
        </a:ln>
      </dgm:spPr>
      <dgm:t>
        <a:bodyPr/>
        <a:lstStyle/>
        <a:p>
          <a:r>
            <a:rPr lang="en-US" dirty="0"/>
            <a:t>Wiremu Tamaki</a:t>
          </a:r>
          <a:br>
            <a:rPr lang="en-US" dirty="0"/>
          </a:br>
          <a:r>
            <a:rPr lang="en-US" dirty="0"/>
            <a:t>SNZ Umpire In Chief</a:t>
          </a:r>
          <a:br>
            <a:rPr lang="en-US" dirty="0"/>
          </a:br>
          <a:r>
            <a:rPr lang="en-US" dirty="0"/>
            <a:t>(UIC)</a:t>
          </a:r>
          <a:endParaRPr lang="en-NZ" dirty="0"/>
        </a:p>
      </dgm:t>
    </dgm:pt>
    <dgm:pt modelId="{05AD968B-D298-42D2-9553-0B132E699F8D}" type="parTrans" cxnId="{98231D42-BD46-4C2F-9A88-5B0EF97774A0}">
      <dgm:prSet/>
      <dgm:spPr/>
      <dgm:t>
        <a:bodyPr/>
        <a:lstStyle/>
        <a:p>
          <a:endParaRPr lang="en-NZ"/>
        </a:p>
      </dgm:t>
    </dgm:pt>
    <dgm:pt modelId="{AA344322-6715-4901-A417-60AF29778BCF}" type="sibTrans" cxnId="{98231D42-BD46-4C2F-9A88-5B0EF97774A0}">
      <dgm:prSet/>
      <dgm:spPr/>
      <dgm:t>
        <a:bodyPr/>
        <a:lstStyle/>
        <a:p>
          <a:endParaRPr lang="en-NZ"/>
        </a:p>
      </dgm:t>
    </dgm:pt>
    <dgm:pt modelId="{BA2D8891-C3C5-4213-B854-76A02E476629}">
      <dgm:prSet phldrT="[Text]"/>
      <dgm:spPr>
        <a:solidFill>
          <a:srgbClr val="0070C0"/>
        </a:solidFill>
        <a:ln>
          <a:solidFill>
            <a:schemeClr val="tx2">
              <a:lumMod val="60000"/>
              <a:lumOff val="40000"/>
            </a:schemeClr>
          </a:solidFill>
        </a:ln>
      </dgm:spPr>
      <dgm:t>
        <a:bodyPr/>
        <a:lstStyle/>
        <a:p>
          <a:pPr algn="ctr"/>
          <a:r>
            <a:rPr lang="en-US" dirty="0"/>
            <a:t>Mark Porteous</a:t>
          </a:r>
          <a:br>
            <a:rPr lang="en-US" dirty="0"/>
          </a:br>
          <a:r>
            <a:rPr lang="en-US" dirty="0"/>
            <a:t>Regional Director of Umpiring</a:t>
          </a:r>
          <a:br>
            <a:rPr lang="en-US" dirty="0"/>
          </a:br>
          <a:r>
            <a:rPr lang="en-US" dirty="0"/>
            <a:t>Northern (RDUN)</a:t>
          </a:r>
        </a:p>
      </dgm:t>
    </dgm:pt>
    <dgm:pt modelId="{6CED5C74-76E3-4AF5-9515-C1C61B7225A8}" type="parTrans" cxnId="{CC169043-87C6-4291-A7E5-D5B1160E426B}">
      <dgm:prSet/>
      <dgm:spPr/>
      <dgm:t>
        <a:bodyPr/>
        <a:lstStyle/>
        <a:p>
          <a:endParaRPr lang="en-NZ"/>
        </a:p>
      </dgm:t>
    </dgm:pt>
    <dgm:pt modelId="{2534689E-1DD1-4D40-A1A8-C1182A5D1CCD}" type="sibTrans" cxnId="{CC169043-87C6-4291-A7E5-D5B1160E426B}">
      <dgm:prSet/>
      <dgm:spPr/>
      <dgm:t>
        <a:bodyPr/>
        <a:lstStyle/>
        <a:p>
          <a:endParaRPr lang="en-NZ"/>
        </a:p>
      </dgm:t>
    </dgm:pt>
    <dgm:pt modelId="{0A407629-5C81-4B2E-AAE3-5686BC542F30}">
      <dgm:prSet phldrT="[Text]"/>
      <dgm:spPr>
        <a:solidFill>
          <a:srgbClr val="0070C0"/>
        </a:solidFill>
        <a:ln>
          <a:solidFill>
            <a:schemeClr val="tx2">
              <a:lumMod val="60000"/>
              <a:lumOff val="40000"/>
            </a:schemeClr>
          </a:solidFill>
        </a:ln>
      </dgm:spPr>
      <dgm:t>
        <a:bodyPr/>
        <a:lstStyle/>
        <a:p>
          <a:r>
            <a:rPr lang="en-US" dirty="0"/>
            <a:t>Jeremy England</a:t>
          </a:r>
          <a:br>
            <a:rPr lang="en-US" dirty="0"/>
          </a:br>
          <a:r>
            <a:rPr lang="en-US" dirty="0"/>
            <a:t>Regional Director of Umpiring</a:t>
          </a:r>
          <a:br>
            <a:rPr lang="en-US" dirty="0"/>
          </a:br>
          <a:r>
            <a:rPr lang="en-US" dirty="0"/>
            <a:t>Central  (RDUC)</a:t>
          </a:r>
          <a:endParaRPr lang="en-NZ" dirty="0"/>
        </a:p>
      </dgm:t>
    </dgm:pt>
    <dgm:pt modelId="{635DA10A-914D-473F-94CC-53CD1CE1608F}" type="parTrans" cxnId="{9610C631-0EA4-4527-9983-DFE00BCDD407}">
      <dgm:prSet/>
      <dgm:spPr/>
      <dgm:t>
        <a:bodyPr/>
        <a:lstStyle/>
        <a:p>
          <a:endParaRPr lang="en-NZ"/>
        </a:p>
      </dgm:t>
    </dgm:pt>
    <dgm:pt modelId="{B67A6403-2F80-4D70-8317-ED9AEB9D5C66}" type="sibTrans" cxnId="{9610C631-0EA4-4527-9983-DFE00BCDD407}">
      <dgm:prSet/>
      <dgm:spPr/>
      <dgm:t>
        <a:bodyPr/>
        <a:lstStyle/>
        <a:p>
          <a:endParaRPr lang="en-NZ"/>
        </a:p>
      </dgm:t>
    </dgm:pt>
    <dgm:pt modelId="{9E13A2AD-4144-4668-AC22-E99C0649A523}">
      <dgm:prSet phldrT="[Text]"/>
      <dgm:spPr>
        <a:solidFill>
          <a:srgbClr val="0070C0"/>
        </a:solidFill>
        <a:ln>
          <a:solidFill>
            <a:schemeClr val="tx2">
              <a:lumMod val="60000"/>
              <a:lumOff val="40000"/>
            </a:schemeClr>
          </a:solidFill>
        </a:ln>
      </dgm:spPr>
      <dgm:t>
        <a:bodyPr/>
        <a:lstStyle/>
        <a:p>
          <a:r>
            <a:rPr lang="en-US" dirty="0"/>
            <a:t>Dave Beaumont</a:t>
          </a:r>
          <a:br>
            <a:rPr lang="en-US" dirty="0"/>
          </a:br>
          <a:r>
            <a:rPr lang="en-US" dirty="0"/>
            <a:t>Regional Director of Umpiring</a:t>
          </a:r>
          <a:br>
            <a:rPr lang="en-US" dirty="0"/>
          </a:br>
          <a:r>
            <a:rPr lang="en-US" dirty="0"/>
            <a:t>Te Waipounamu</a:t>
          </a:r>
          <a:br>
            <a:rPr lang="en-US" dirty="0"/>
          </a:br>
          <a:r>
            <a:rPr lang="en-US" dirty="0"/>
            <a:t>Southern (RDUS)</a:t>
          </a:r>
          <a:endParaRPr lang="en-NZ" dirty="0"/>
        </a:p>
      </dgm:t>
    </dgm:pt>
    <dgm:pt modelId="{1CE84810-60D4-448F-856B-56D03734B573}" type="parTrans" cxnId="{4642F2DE-9399-4600-94C4-BD559C560F1B}">
      <dgm:prSet/>
      <dgm:spPr/>
      <dgm:t>
        <a:bodyPr/>
        <a:lstStyle/>
        <a:p>
          <a:endParaRPr lang="en-NZ"/>
        </a:p>
      </dgm:t>
    </dgm:pt>
    <dgm:pt modelId="{0773D009-A4E7-4C2A-A2B1-A944AE96CE72}" type="sibTrans" cxnId="{4642F2DE-9399-4600-94C4-BD559C560F1B}">
      <dgm:prSet/>
      <dgm:spPr/>
      <dgm:t>
        <a:bodyPr/>
        <a:lstStyle/>
        <a:p>
          <a:endParaRPr lang="en-NZ"/>
        </a:p>
      </dgm:t>
    </dgm:pt>
    <dgm:pt modelId="{A7984392-1EDF-43C6-A90C-A85937F3C147}">
      <dgm:prSet/>
      <dgm:spPr/>
      <dgm:t>
        <a:bodyPr/>
        <a:lstStyle/>
        <a:p>
          <a:r>
            <a:rPr lang="en-NZ"/>
            <a:t>Umpire In Chief </a:t>
          </a:r>
          <a:br>
            <a:rPr lang="en-NZ"/>
          </a:br>
          <a:r>
            <a:rPr lang="en-NZ"/>
            <a:t>Local Associations:</a:t>
          </a:r>
          <a:br>
            <a:rPr lang="en-NZ"/>
          </a:br>
          <a:r>
            <a:rPr lang="en-NZ"/>
            <a:t>Tasman</a:t>
          </a:r>
          <a:br>
            <a:rPr lang="en-NZ"/>
          </a:br>
          <a:r>
            <a:rPr lang="en-NZ"/>
            <a:t>Marlborough</a:t>
          </a:r>
          <a:br>
            <a:rPr lang="en-NZ"/>
          </a:br>
          <a:r>
            <a:rPr lang="en-NZ"/>
            <a:t>Canterbury</a:t>
          </a:r>
          <a:br>
            <a:rPr lang="en-NZ"/>
          </a:br>
          <a:r>
            <a:rPr lang="en-NZ"/>
            <a:t>North Otago</a:t>
          </a:r>
          <a:br>
            <a:rPr lang="en-NZ"/>
          </a:br>
          <a:r>
            <a:rPr lang="en-NZ"/>
            <a:t>Otago</a:t>
          </a:r>
          <a:br>
            <a:rPr lang="en-NZ"/>
          </a:br>
          <a:r>
            <a:rPr lang="en-NZ"/>
            <a:t>Central Otago</a:t>
          </a:r>
          <a:br>
            <a:rPr lang="en-NZ"/>
          </a:br>
          <a:r>
            <a:rPr lang="en-NZ"/>
            <a:t>Southland</a:t>
          </a:r>
          <a:br>
            <a:rPr lang="en-NZ"/>
          </a:br>
          <a:r>
            <a:rPr lang="en-NZ"/>
            <a:t>(7)</a:t>
          </a:r>
          <a:br>
            <a:rPr lang="en-NZ"/>
          </a:br>
          <a:endParaRPr lang="en-NZ"/>
        </a:p>
      </dgm:t>
    </dgm:pt>
    <dgm:pt modelId="{462C7707-A845-48CA-B104-1A28C9FE5EC5}" type="parTrans" cxnId="{8EB75ED1-A037-4CD3-A793-99F695EAC853}">
      <dgm:prSet/>
      <dgm:spPr/>
      <dgm:t>
        <a:bodyPr/>
        <a:lstStyle/>
        <a:p>
          <a:endParaRPr lang="en-NZ"/>
        </a:p>
      </dgm:t>
    </dgm:pt>
    <dgm:pt modelId="{B420B411-8BEB-47DE-AFE9-894D02BECE0D}" type="sibTrans" cxnId="{8EB75ED1-A037-4CD3-A793-99F695EAC853}">
      <dgm:prSet/>
      <dgm:spPr/>
      <dgm:t>
        <a:bodyPr/>
        <a:lstStyle/>
        <a:p>
          <a:endParaRPr lang="en-NZ"/>
        </a:p>
      </dgm:t>
    </dgm:pt>
    <dgm:pt modelId="{FEAE965E-B575-46E4-9092-5E51CF91E886}">
      <dgm:prSet phldrT="[Text]"/>
      <dgm:spPr>
        <a:solidFill>
          <a:srgbClr val="92D050"/>
        </a:solidFill>
        <a:ln>
          <a:solidFill>
            <a:schemeClr val="tx2">
              <a:lumMod val="60000"/>
              <a:lumOff val="40000"/>
            </a:schemeClr>
          </a:solidFill>
        </a:ln>
      </dgm:spPr>
      <dgm:t>
        <a:bodyPr/>
        <a:lstStyle/>
        <a:p>
          <a:r>
            <a:rPr lang="en-US" dirty="0"/>
            <a:t>Lindsay Edwards</a:t>
          </a:r>
          <a:br>
            <a:rPr lang="en-US" dirty="0"/>
          </a:br>
          <a:r>
            <a:rPr lang="en-US" dirty="0"/>
            <a:t>Deputy Director of Umpiring (DDU)</a:t>
          </a:r>
        </a:p>
      </dgm:t>
    </dgm:pt>
    <dgm:pt modelId="{BD410204-186F-44F1-BE1E-1A83B08B18BF}" type="sibTrans" cxnId="{D95FD452-6D3F-40AC-9D40-6F93BE789E71}">
      <dgm:prSet/>
      <dgm:spPr/>
      <dgm:t>
        <a:bodyPr/>
        <a:lstStyle/>
        <a:p>
          <a:endParaRPr lang="en-NZ"/>
        </a:p>
      </dgm:t>
    </dgm:pt>
    <dgm:pt modelId="{A0113C01-655D-4C63-B008-C2AB797671BD}" type="parTrans" cxnId="{D95FD452-6D3F-40AC-9D40-6F93BE789E71}">
      <dgm:prSet/>
      <dgm:spPr/>
      <dgm:t>
        <a:bodyPr/>
        <a:lstStyle/>
        <a:p>
          <a:endParaRPr lang="en-NZ"/>
        </a:p>
      </dgm:t>
    </dgm:pt>
    <dgm:pt modelId="{1D4703CB-CA3B-4A85-9AEA-29504DC8C84B}">
      <dgm:prSet phldrT="[Text]"/>
      <dgm:spPr>
        <a:solidFill>
          <a:schemeClr val="accent5">
            <a:lumMod val="60000"/>
            <a:lumOff val="40000"/>
          </a:schemeClr>
        </a:solidFill>
        <a:ln>
          <a:solidFill>
            <a:schemeClr val="tx2">
              <a:lumMod val="60000"/>
              <a:lumOff val="40000"/>
            </a:schemeClr>
          </a:solidFill>
        </a:ln>
      </dgm:spPr>
      <dgm:t>
        <a:bodyPr/>
        <a:lstStyle/>
        <a:p>
          <a:r>
            <a:rPr lang="en-US" dirty="0"/>
            <a:t>Lance Brown</a:t>
          </a:r>
          <a:br>
            <a:rPr lang="en-US" dirty="0"/>
          </a:br>
          <a:r>
            <a:rPr lang="en-US" dirty="0"/>
            <a:t>Regional Director at Large</a:t>
          </a:r>
          <a:br>
            <a:rPr lang="en-US" dirty="0"/>
          </a:br>
          <a:r>
            <a:rPr lang="en-US" dirty="0"/>
            <a:t>(RDU@L)</a:t>
          </a:r>
          <a:endParaRPr lang="en-NZ" dirty="0"/>
        </a:p>
      </dgm:t>
    </dgm:pt>
    <dgm:pt modelId="{79FE1A54-54B2-4D28-B159-BCC126A27914}" type="sibTrans" cxnId="{BD37E407-4C46-468B-8BBC-80421ADEBF90}">
      <dgm:prSet/>
      <dgm:spPr/>
      <dgm:t>
        <a:bodyPr/>
        <a:lstStyle/>
        <a:p>
          <a:endParaRPr lang="en-NZ"/>
        </a:p>
      </dgm:t>
    </dgm:pt>
    <dgm:pt modelId="{AF34F879-CA4A-400E-9F55-F34CD7E492D5}" type="parTrans" cxnId="{BD37E407-4C46-468B-8BBC-80421ADEBF90}">
      <dgm:prSet/>
      <dgm:spPr>
        <a:ln>
          <a:prstDash val="dash"/>
        </a:ln>
      </dgm:spPr>
      <dgm:t>
        <a:bodyPr/>
        <a:lstStyle/>
        <a:p>
          <a:endParaRPr lang="en-NZ"/>
        </a:p>
      </dgm:t>
    </dgm:pt>
    <dgm:pt modelId="{8CA557FB-7F91-4814-BD39-24539FD724DE}">
      <dgm:prSet/>
      <dgm:spPr/>
      <dgm:t>
        <a:bodyPr/>
        <a:lstStyle/>
        <a:p>
          <a:r>
            <a:rPr lang="en-NZ"/>
            <a:t>Umpire In Chief </a:t>
          </a:r>
          <a:br>
            <a:rPr lang="en-NZ"/>
          </a:br>
          <a:r>
            <a:rPr lang="en-NZ"/>
            <a:t>Local Associations:</a:t>
          </a:r>
          <a:br>
            <a:rPr lang="en-NZ"/>
          </a:br>
          <a:r>
            <a:rPr lang="en-NZ"/>
            <a:t>Northland</a:t>
          </a:r>
          <a:br>
            <a:rPr lang="en-NZ"/>
          </a:br>
          <a:r>
            <a:rPr lang="en-NZ"/>
            <a:t>North Harbour</a:t>
          </a:r>
          <a:br>
            <a:rPr lang="en-NZ"/>
          </a:br>
          <a:r>
            <a:rPr lang="en-NZ"/>
            <a:t>Auckland</a:t>
          </a:r>
          <a:br>
            <a:rPr lang="en-NZ"/>
          </a:br>
          <a:r>
            <a:rPr lang="en-NZ"/>
            <a:t>Counties Manukau</a:t>
          </a:r>
          <a:br>
            <a:rPr lang="en-NZ"/>
          </a:br>
          <a:r>
            <a:rPr lang="en-NZ"/>
            <a:t>Waikato</a:t>
          </a:r>
          <a:br>
            <a:rPr lang="en-NZ"/>
          </a:br>
          <a:r>
            <a:rPr lang="en-NZ"/>
            <a:t>Western Bay of Plenty</a:t>
          </a:r>
          <a:br>
            <a:rPr lang="en-NZ"/>
          </a:br>
          <a:r>
            <a:rPr lang="en-NZ"/>
            <a:t>Rotorua</a:t>
          </a:r>
          <a:br>
            <a:rPr lang="en-NZ"/>
          </a:br>
          <a:r>
            <a:rPr lang="en-NZ"/>
            <a:t>(7)</a:t>
          </a:r>
        </a:p>
      </dgm:t>
    </dgm:pt>
    <dgm:pt modelId="{D910D0ED-2E34-406B-A938-AFEF12175A36}" type="parTrans" cxnId="{61D0A3DD-7DA2-4B37-9E3A-9391FCEE551F}">
      <dgm:prSet/>
      <dgm:spPr/>
      <dgm:t>
        <a:bodyPr/>
        <a:lstStyle/>
        <a:p>
          <a:endParaRPr lang="en-NZ"/>
        </a:p>
      </dgm:t>
    </dgm:pt>
    <dgm:pt modelId="{279197B6-EEC7-4876-92C4-2B7BE02DD8D7}" type="sibTrans" cxnId="{61D0A3DD-7DA2-4B37-9E3A-9391FCEE551F}">
      <dgm:prSet/>
      <dgm:spPr/>
      <dgm:t>
        <a:bodyPr/>
        <a:lstStyle/>
        <a:p>
          <a:endParaRPr lang="en-NZ"/>
        </a:p>
      </dgm:t>
    </dgm:pt>
    <dgm:pt modelId="{98911E05-5256-43D3-8F15-F388F7F2ECBF}">
      <dgm:prSet/>
      <dgm:spPr/>
      <dgm:t>
        <a:bodyPr/>
        <a:lstStyle/>
        <a:p>
          <a:r>
            <a:rPr lang="en-NZ"/>
            <a:t>Umpire In Chief </a:t>
          </a:r>
          <a:br>
            <a:rPr lang="en-NZ"/>
          </a:br>
          <a:r>
            <a:rPr lang="en-NZ"/>
            <a:t>Local Associations:</a:t>
          </a:r>
          <a:br>
            <a:rPr lang="en-NZ"/>
          </a:br>
          <a:r>
            <a:rPr lang="en-NZ"/>
            <a:t>Tairawhiti</a:t>
          </a:r>
          <a:br>
            <a:rPr lang="en-NZ"/>
          </a:br>
          <a:r>
            <a:rPr lang="en-NZ"/>
            <a:t>Hawkes Bay</a:t>
          </a:r>
          <a:br>
            <a:rPr lang="en-NZ"/>
          </a:br>
          <a:r>
            <a:rPr lang="en-NZ"/>
            <a:t>Manawatu</a:t>
          </a:r>
          <a:br>
            <a:rPr lang="en-NZ"/>
          </a:br>
          <a:r>
            <a:rPr lang="en-NZ"/>
            <a:t>Taranaki</a:t>
          </a:r>
          <a:br>
            <a:rPr lang="en-NZ"/>
          </a:br>
          <a:r>
            <a:rPr lang="en-NZ"/>
            <a:t>Wanganui</a:t>
          </a:r>
          <a:br>
            <a:rPr lang="en-NZ"/>
          </a:br>
          <a:r>
            <a:rPr lang="en-NZ"/>
            <a:t>Hutt Valley</a:t>
          </a:r>
          <a:br>
            <a:rPr lang="en-NZ"/>
          </a:br>
          <a:r>
            <a:rPr lang="en-NZ"/>
            <a:t>Wellington</a:t>
          </a:r>
          <a:br>
            <a:rPr lang="en-NZ"/>
          </a:br>
          <a:r>
            <a:rPr lang="en-NZ"/>
            <a:t>(7)</a:t>
          </a:r>
        </a:p>
      </dgm:t>
    </dgm:pt>
    <dgm:pt modelId="{8157B17D-C0A5-497C-AD27-C87E0E6F79B6}" type="parTrans" cxnId="{D25D8F96-6655-46BE-A746-6E8DFE9C1499}">
      <dgm:prSet/>
      <dgm:spPr/>
      <dgm:t>
        <a:bodyPr/>
        <a:lstStyle/>
        <a:p>
          <a:endParaRPr lang="en-NZ"/>
        </a:p>
      </dgm:t>
    </dgm:pt>
    <dgm:pt modelId="{D2BB37EA-E37A-4ED1-AEE3-DAB105FDD12A}" type="sibTrans" cxnId="{D25D8F96-6655-46BE-A746-6E8DFE9C1499}">
      <dgm:prSet/>
      <dgm:spPr/>
      <dgm:t>
        <a:bodyPr/>
        <a:lstStyle/>
        <a:p>
          <a:endParaRPr lang="en-NZ"/>
        </a:p>
      </dgm:t>
    </dgm:pt>
    <dgm:pt modelId="{FBFE396B-0EB0-4C24-9A10-B8A3510DB266}">
      <dgm:prSet/>
      <dgm:spPr>
        <a:solidFill>
          <a:schemeClr val="accent2"/>
        </a:solidFill>
      </dgm:spPr>
      <dgm:t>
        <a:bodyPr/>
        <a:lstStyle/>
        <a:p>
          <a:r>
            <a:rPr lang="en-NZ"/>
            <a:t>Kevin Gorman</a:t>
          </a:r>
          <a:br>
            <a:rPr lang="en-NZ"/>
          </a:br>
          <a:r>
            <a:rPr lang="en-NZ"/>
            <a:t>Assistant Regional Director </a:t>
          </a:r>
          <a:br>
            <a:rPr lang="en-NZ"/>
          </a:br>
          <a:r>
            <a:rPr lang="en-NZ"/>
            <a:t>of Umpiring</a:t>
          </a:r>
          <a:br>
            <a:rPr lang="en-NZ"/>
          </a:br>
          <a:r>
            <a:rPr lang="en-NZ"/>
            <a:t>(ARDU)</a:t>
          </a:r>
        </a:p>
      </dgm:t>
    </dgm:pt>
    <dgm:pt modelId="{503F264D-3EDA-40C0-8FEB-F196432C8086}" type="parTrans" cxnId="{9C0BB94D-D4AE-454D-91AF-2566F9D2B00D}">
      <dgm:prSet/>
      <dgm:spPr/>
      <dgm:t>
        <a:bodyPr/>
        <a:lstStyle/>
        <a:p>
          <a:endParaRPr lang="en-NZ"/>
        </a:p>
      </dgm:t>
    </dgm:pt>
    <dgm:pt modelId="{937E061C-5C46-4B39-A060-8274969F7362}" type="sibTrans" cxnId="{9C0BB94D-D4AE-454D-91AF-2566F9D2B00D}">
      <dgm:prSet/>
      <dgm:spPr/>
      <dgm:t>
        <a:bodyPr/>
        <a:lstStyle/>
        <a:p>
          <a:endParaRPr lang="en-NZ"/>
        </a:p>
      </dgm:t>
    </dgm:pt>
    <dgm:pt modelId="{DCD13215-AB22-47FC-94EC-6A8919379848}">
      <dgm:prSet/>
      <dgm:spPr>
        <a:solidFill>
          <a:schemeClr val="accent2"/>
        </a:solidFill>
      </dgm:spPr>
      <dgm:t>
        <a:bodyPr/>
        <a:lstStyle/>
        <a:p>
          <a:r>
            <a:rPr lang="en-NZ"/>
            <a:t>Gavin Shepherd</a:t>
          </a:r>
          <a:br>
            <a:rPr lang="en-NZ"/>
          </a:br>
          <a:r>
            <a:rPr lang="en-NZ"/>
            <a:t>Assistant Regional Director </a:t>
          </a:r>
          <a:br>
            <a:rPr lang="en-NZ"/>
          </a:br>
          <a:r>
            <a:rPr lang="en-NZ"/>
            <a:t>of Umpiring</a:t>
          </a:r>
          <a:br>
            <a:rPr lang="en-NZ"/>
          </a:br>
          <a:r>
            <a:rPr lang="en-NZ"/>
            <a:t>(ARDU)</a:t>
          </a:r>
        </a:p>
      </dgm:t>
    </dgm:pt>
    <dgm:pt modelId="{4B4A9819-15D2-46A2-A501-4FABEC801A40}" type="parTrans" cxnId="{18EB283D-3E03-4905-A9B3-BD2D0708957C}">
      <dgm:prSet/>
      <dgm:spPr/>
      <dgm:t>
        <a:bodyPr/>
        <a:lstStyle/>
        <a:p>
          <a:endParaRPr lang="en-NZ"/>
        </a:p>
      </dgm:t>
    </dgm:pt>
    <dgm:pt modelId="{149E585B-9DB6-4DC4-979D-0199FDDD7FBC}" type="sibTrans" cxnId="{18EB283D-3E03-4905-A9B3-BD2D0708957C}">
      <dgm:prSet/>
      <dgm:spPr/>
      <dgm:t>
        <a:bodyPr/>
        <a:lstStyle/>
        <a:p>
          <a:endParaRPr lang="en-NZ"/>
        </a:p>
      </dgm:t>
    </dgm:pt>
    <dgm:pt modelId="{9CA6AEE5-D6BC-4423-8C01-41CB878092D5}">
      <dgm:prSet/>
      <dgm:spPr>
        <a:solidFill>
          <a:schemeClr val="accent2"/>
        </a:solidFill>
      </dgm:spPr>
      <dgm:t>
        <a:bodyPr/>
        <a:lstStyle/>
        <a:p>
          <a:r>
            <a:rPr lang="en-NZ" dirty="0"/>
            <a:t>Rikki Thompson</a:t>
          </a:r>
          <a:br>
            <a:rPr lang="en-NZ" dirty="0"/>
          </a:br>
          <a:r>
            <a:rPr lang="en-NZ" dirty="0"/>
            <a:t>Assistant Regional Director </a:t>
          </a:r>
          <a:br>
            <a:rPr lang="en-NZ" dirty="0"/>
          </a:br>
          <a:r>
            <a:rPr lang="en-NZ" dirty="0"/>
            <a:t>of Umpiring</a:t>
          </a:r>
          <a:br>
            <a:rPr lang="en-NZ" dirty="0"/>
          </a:br>
          <a:r>
            <a:rPr lang="en-NZ" dirty="0"/>
            <a:t>(ARDU)</a:t>
          </a:r>
        </a:p>
      </dgm:t>
    </dgm:pt>
    <dgm:pt modelId="{E9A1A712-C7B4-47D7-A6BF-028DDB2AE081}" type="parTrans" cxnId="{22BFA955-FE13-49DE-B637-0F12DE03348B}">
      <dgm:prSet/>
      <dgm:spPr/>
      <dgm:t>
        <a:bodyPr/>
        <a:lstStyle/>
        <a:p>
          <a:endParaRPr lang="en-NZ"/>
        </a:p>
      </dgm:t>
    </dgm:pt>
    <dgm:pt modelId="{A88F9833-479A-4E8F-A0D3-957DD0331000}" type="sibTrans" cxnId="{22BFA955-FE13-49DE-B637-0F12DE03348B}">
      <dgm:prSet/>
      <dgm:spPr/>
      <dgm:t>
        <a:bodyPr/>
        <a:lstStyle/>
        <a:p>
          <a:endParaRPr lang="en-NZ"/>
        </a:p>
      </dgm:t>
    </dgm:pt>
    <dgm:pt modelId="{7FF5826C-2DB6-42EE-8B87-43FD6AD885F7}" type="pres">
      <dgm:prSet presAssocID="{5CF2707B-2D2E-4A50-945C-7FDC876D1351}" presName="hierChild1" presStyleCnt="0">
        <dgm:presLayoutVars>
          <dgm:orgChart val="1"/>
          <dgm:chPref val="1"/>
          <dgm:dir/>
          <dgm:animOne val="branch"/>
          <dgm:animLvl val="lvl"/>
          <dgm:resizeHandles/>
        </dgm:presLayoutVars>
      </dgm:prSet>
      <dgm:spPr/>
    </dgm:pt>
    <dgm:pt modelId="{E4874F88-4D87-4588-BEF7-8898E4279D9A}" type="pres">
      <dgm:prSet presAssocID="{377B4E35-802C-4BB6-9369-8CE4971AD27C}" presName="hierRoot1" presStyleCnt="0">
        <dgm:presLayoutVars>
          <dgm:hierBranch val="init"/>
        </dgm:presLayoutVars>
      </dgm:prSet>
      <dgm:spPr/>
    </dgm:pt>
    <dgm:pt modelId="{BCD962CB-FEF2-49FA-9745-E93E5CF8CB81}" type="pres">
      <dgm:prSet presAssocID="{377B4E35-802C-4BB6-9369-8CE4971AD27C}" presName="rootComposite1" presStyleCnt="0"/>
      <dgm:spPr/>
    </dgm:pt>
    <dgm:pt modelId="{07682C41-9F4F-4424-8BA2-3DCA469121F8}" type="pres">
      <dgm:prSet presAssocID="{377B4E35-802C-4BB6-9369-8CE4971AD27C}" presName="rootText1" presStyleLbl="node0" presStyleIdx="0" presStyleCnt="1" custLinFactNeighborX="3938" custLinFactNeighborY="-26887">
        <dgm:presLayoutVars>
          <dgm:chPref val="3"/>
        </dgm:presLayoutVars>
      </dgm:prSet>
      <dgm:spPr/>
    </dgm:pt>
    <dgm:pt modelId="{16BE545C-C46E-461B-9388-5EAB3F39BAD5}" type="pres">
      <dgm:prSet presAssocID="{377B4E35-802C-4BB6-9369-8CE4971AD27C}" presName="rootConnector1" presStyleLbl="node1" presStyleIdx="0" presStyleCnt="0"/>
      <dgm:spPr/>
    </dgm:pt>
    <dgm:pt modelId="{9FBAFB39-655F-4EE6-A83D-5B29E42F3878}" type="pres">
      <dgm:prSet presAssocID="{377B4E35-802C-4BB6-9369-8CE4971AD27C}" presName="hierChild2" presStyleCnt="0"/>
      <dgm:spPr/>
    </dgm:pt>
    <dgm:pt modelId="{6583E6A3-9E26-4B6C-88FC-10BE341055DE}" type="pres">
      <dgm:prSet presAssocID="{A0113C01-655D-4C63-B008-C2AB797671BD}" presName="Name37" presStyleLbl="parChTrans1D2" presStyleIdx="0" presStyleCnt="5"/>
      <dgm:spPr/>
    </dgm:pt>
    <dgm:pt modelId="{8261953E-B24D-4ED2-937A-8FDF25A3BF8F}" type="pres">
      <dgm:prSet presAssocID="{FEAE965E-B575-46E4-9092-5E51CF91E886}" presName="hierRoot2" presStyleCnt="0">
        <dgm:presLayoutVars>
          <dgm:hierBranch val="init"/>
        </dgm:presLayoutVars>
      </dgm:prSet>
      <dgm:spPr/>
    </dgm:pt>
    <dgm:pt modelId="{B4ADD23E-A575-4AB2-AA75-05C5570AF3AA}" type="pres">
      <dgm:prSet presAssocID="{FEAE965E-B575-46E4-9092-5E51CF91E886}" presName="rootComposite" presStyleCnt="0"/>
      <dgm:spPr/>
    </dgm:pt>
    <dgm:pt modelId="{32457FB0-5E88-4831-9909-8939DFFDAF1E}" type="pres">
      <dgm:prSet presAssocID="{FEAE965E-B575-46E4-9092-5E51CF91E886}" presName="rootText" presStyleLbl="node2" presStyleIdx="0" presStyleCnt="5" custScaleX="108349" custScaleY="138479">
        <dgm:presLayoutVars>
          <dgm:chPref val="3"/>
        </dgm:presLayoutVars>
      </dgm:prSet>
      <dgm:spPr/>
    </dgm:pt>
    <dgm:pt modelId="{4679DE1F-20A4-4CBD-9269-CB92CE4EA089}" type="pres">
      <dgm:prSet presAssocID="{FEAE965E-B575-46E4-9092-5E51CF91E886}" presName="rootConnector" presStyleLbl="node2" presStyleIdx="0" presStyleCnt="5"/>
      <dgm:spPr/>
    </dgm:pt>
    <dgm:pt modelId="{95EB9E71-9D6B-4839-9EDE-F0E66C72A722}" type="pres">
      <dgm:prSet presAssocID="{FEAE965E-B575-46E4-9092-5E51CF91E886}" presName="hierChild4" presStyleCnt="0"/>
      <dgm:spPr/>
    </dgm:pt>
    <dgm:pt modelId="{D64650EF-2DDA-4BCC-BD9F-6F806212783F}" type="pres">
      <dgm:prSet presAssocID="{FEAE965E-B575-46E4-9092-5E51CF91E886}" presName="hierChild5" presStyleCnt="0"/>
      <dgm:spPr/>
    </dgm:pt>
    <dgm:pt modelId="{01A2D364-F553-4626-8857-FEB6F95EEBF4}" type="pres">
      <dgm:prSet presAssocID="{6CED5C74-76E3-4AF5-9515-C1C61B7225A8}" presName="Name37" presStyleLbl="parChTrans1D2" presStyleIdx="1" presStyleCnt="5"/>
      <dgm:spPr/>
    </dgm:pt>
    <dgm:pt modelId="{AD4C7895-6A5D-429B-94E1-AC214BB108E5}" type="pres">
      <dgm:prSet presAssocID="{BA2D8891-C3C5-4213-B854-76A02E476629}" presName="hierRoot2" presStyleCnt="0">
        <dgm:presLayoutVars>
          <dgm:hierBranch val="init"/>
        </dgm:presLayoutVars>
      </dgm:prSet>
      <dgm:spPr/>
    </dgm:pt>
    <dgm:pt modelId="{BBBC4B54-1D43-4463-AA3E-26C9E3EFCAB9}" type="pres">
      <dgm:prSet presAssocID="{BA2D8891-C3C5-4213-B854-76A02E476629}" presName="rootComposite" presStyleCnt="0"/>
      <dgm:spPr/>
    </dgm:pt>
    <dgm:pt modelId="{3A5726E2-EB72-44C6-B2EF-0DC37C6EBC2D}" type="pres">
      <dgm:prSet presAssocID="{BA2D8891-C3C5-4213-B854-76A02E476629}" presName="rootText" presStyleLbl="node2" presStyleIdx="1" presStyleCnt="5" custScaleX="120359" custLinFactNeighborY="-1342">
        <dgm:presLayoutVars>
          <dgm:chPref val="3"/>
        </dgm:presLayoutVars>
      </dgm:prSet>
      <dgm:spPr/>
    </dgm:pt>
    <dgm:pt modelId="{FCE3492B-750B-4CDC-B2F8-99FEEBF35A45}" type="pres">
      <dgm:prSet presAssocID="{BA2D8891-C3C5-4213-B854-76A02E476629}" presName="rootConnector" presStyleLbl="node2" presStyleIdx="1" presStyleCnt="5"/>
      <dgm:spPr/>
    </dgm:pt>
    <dgm:pt modelId="{D596A7DF-BAA2-49D9-B2F1-78FACF4E00DB}" type="pres">
      <dgm:prSet presAssocID="{BA2D8891-C3C5-4213-B854-76A02E476629}" presName="hierChild4" presStyleCnt="0"/>
      <dgm:spPr/>
    </dgm:pt>
    <dgm:pt modelId="{8440273B-540C-46FC-8877-9CDA9BEA4C39}" type="pres">
      <dgm:prSet presAssocID="{D910D0ED-2E34-406B-A938-AFEF12175A36}" presName="Name37" presStyleLbl="parChTrans1D3" presStyleIdx="0" presStyleCnt="6"/>
      <dgm:spPr/>
    </dgm:pt>
    <dgm:pt modelId="{463106F9-9B6F-4ECA-B449-041C9EDB2986}" type="pres">
      <dgm:prSet presAssocID="{8CA557FB-7F91-4814-BD39-24539FD724DE}" presName="hierRoot2" presStyleCnt="0">
        <dgm:presLayoutVars>
          <dgm:hierBranch val="init"/>
        </dgm:presLayoutVars>
      </dgm:prSet>
      <dgm:spPr/>
    </dgm:pt>
    <dgm:pt modelId="{EB095A97-1B3C-4E6E-BCD1-0318D3F506C2}" type="pres">
      <dgm:prSet presAssocID="{8CA557FB-7F91-4814-BD39-24539FD724DE}" presName="rootComposite" presStyleCnt="0"/>
      <dgm:spPr/>
    </dgm:pt>
    <dgm:pt modelId="{A43AF624-D113-4F4E-B541-09611DDD458C}" type="pres">
      <dgm:prSet presAssocID="{8CA557FB-7F91-4814-BD39-24539FD724DE}" presName="rootText" presStyleLbl="node3" presStyleIdx="0" presStyleCnt="6" custScaleX="78783" custScaleY="226110" custLinFactY="47034" custLinFactNeighborX="-3666" custLinFactNeighborY="100000">
        <dgm:presLayoutVars>
          <dgm:chPref val="3"/>
        </dgm:presLayoutVars>
      </dgm:prSet>
      <dgm:spPr/>
    </dgm:pt>
    <dgm:pt modelId="{51C4098E-2641-4515-8BD8-9F43572CF1A8}" type="pres">
      <dgm:prSet presAssocID="{8CA557FB-7F91-4814-BD39-24539FD724DE}" presName="rootConnector" presStyleLbl="node3" presStyleIdx="0" presStyleCnt="6"/>
      <dgm:spPr/>
    </dgm:pt>
    <dgm:pt modelId="{B0C614A7-D384-4C6F-AB82-2C34EA6F4AF1}" type="pres">
      <dgm:prSet presAssocID="{8CA557FB-7F91-4814-BD39-24539FD724DE}" presName="hierChild4" presStyleCnt="0"/>
      <dgm:spPr/>
    </dgm:pt>
    <dgm:pt modelId="{61C616B4-4037-4D41-A7C8-E8A217F8A80C}" type="pres">
      <dgm:prSet presAssocID="{8CA557FB-7F91-4814-BD39-24539FD724DE}" presName="hierChild5" presStyleCnt="0"/>
      <dgm:spPr/>
    </dgm:pt>
    <dgm:pt modelId="{2A7C331B-632B-4890-94BA-0799E54A6572}" type="pres">
      <dgm:prSet presAssocID="{503F264D-3EDA-40C0-8FEB-F196432C8086}" presName="Name37" presStyleLbl="parChTrans1D3" presStyleIdx="1" presStyleCnt="6"/>
      <dgm:spPr/>
    </dgm:pt>
    <dgm:pt modelId="{2CCDDE4B-CC50-45D4-90AD-D1DCA8E7FFE9}" type="pres">
      <dgm:prSet presAssocID="{FBFE396B-0EB0-4C24-9A10-B8A3510DB266}" presName="hierRoot2" presStyleCnt="0">
        <dgm:presLayoutVars>
          <dgm:hierBranch val="init"/>
        </dgm:presLayoutVars>
      </dgm:prSet>
      <dgm:spPr/>
    </dgm:pt>
    <dgm:pt modelId="{641DD41C-5A11-4E6B-82AE-5B210B43ECF7}" type="pres">
      <dgm:prSet presAssocID="{FBFE396B-0EB0-4C24-9A10-B8A3510DB266}" presName="rootComposite" presStyleCnt="0"/>
      <dgm:spPr/>
    </dgm:pt>
    <dgm:pt modelId="{A81F448A-26D0-434E-9A6F-97A073B50594}" type="pres">
      <dgm:prSet presAssocID="{FBFE396B-0EB0-4C24-9A10-B8A3510DB266}" presName="rootText" presStyleLbl="node3" presStyleIdx="1" presStyleCnt="6" custLinFactY="-100000" custLinFactNeighborX="-10976" custLinFactNeighborY="-173169">
        <dgm:presLayoutVars>
          <dgm:chPref val="3"/>
        </dgm:presLayoutVars>
      </dgm:prSet>
      <dgm:spPr/>
    </dgm:pt>
    <dgm:pt modelId="{3C62239E-EACF-4AB4-860E-4E80934FD6EF}" type="pres">
      <dgm:prSet presAssocID="{FBFE396B-0EB0-4C24-9A10-B8A3510DB266}" presName="rootConnector" presStyleLbl="node3" presStyleIdx="1" presStyleCnt="6"/>
      <dgm:spPr/>
    </dgm:pt>
    <dgm:pt modelId="{675B0AE6-0F61-4C42-9C2D-1444F3F0D8FB}" type="pres">
      <dgm:prSet presAssocID="{FBFE396B-0EB0-4C24-9A10-B8A3510DB266}" presName="hierChild4" presStyleCnt="0"/>
      <dgm:spPr/>
    </dgm:pt>
    <dgm:pt modelId="{499DFA33-F239-455C-9940-83ED0CB8F394}" type="pres">
      <dgm:prSet presAssocID="{FBFE396B-0EB0-4C24-9A10-B8A3510DB266}" presName="hierChild5" presStyleCnt="0"/>
      <dgm:spPr/>
    </dgm:pt>
    <dgm:pt modelId="{C4C53846-CC90-46AF-8699-7A37F6A4D17A}" type="pres">
      <dgm:prSet presAssocID="{BA2D8891-C3C5-4213-B854-76A02E476629}" presName="hierChild5" presStyleCnt="0"/>
      <dgm:spPr/>
    </dgm:pt>
    <dgm:pt modelId="{79A1C0EF-2A7A-46A9-B764-9B32F8CE1E32}" type="pres">
      <dgm:prSet presAssocID="{635DA10A-914D-473F-94CC-53CD1CE1608F}" presName="Name37" presStyleLbl="parChTrans1D2" presStyleIdx="2" presStyleCnt="5"/>
      <dgm:spPr/>
    </dgm:pt>
    <dgm:pt modelId="{0C42BEA7-5077-45F7-8DA3-E39ACE9CDE16}" type="pres">
      <dgm:prSet presAssocID="{0A407629-5C81-4B2E-AAE3-5686BC542F30}" presName="hierRoot2" presStyleCnt="0">
        <dgm:presLayoutVars>
          <dgm:hierBranch val="init"/>
        </dgm:presLayoutVars>
      </dgm:prSet>
      <dgm:spPr/>
    </dgm:pt>
    <dgm:pt modelId="{56721961-F205-4B86-9C38-3810721DA4FD}" type="pres">
      <dgm:prSet presAssocID="{0A407629-5C81-4B2E-AAE3-5686BC542F30}" presName="rootComposite" presStyleCnt="0"/>
      <dgm:spPr/>
    </dgm:pt>
    <dgm:pt modelId="{A5E0EA24-A4CC-4DF2-9B13-2ABA685F3868}" type="pres">
      <dgm:prSet presAssocID="{0A407629-5C81-4B2E-AAE3-5686BC542F30}" presName="rootText" presStyleLbl="node2" presStyleIdx="2" presStyleCnt="5" custScaleX="118441">
        <dgm:presLayoutVars>
          <dgm:chPref val="3"/>
        </dgm:presLayoutVars>
      </dgm:prSet>
      <dgm:spPr/>
    </dgm:pt>
    <dgm:pt modelId="{25E8727D-3A0E-44C1-89CE-D420743D1F24}" type="pres">
      <dgm:prSet presAssocID="{0A407629-5C81-4B2E-AAE3-5686BC542F30}" presName="rootConnector" presStyleLbl="node2" presStyleIdx="2" presStyleCnt="5"/>
      <dgm:spPr/>
    </dgm:pt>
    <dgm:pt modelId="{98E9547D-A817-4350-BD58-5CF7E6DB0C7B}" type="pres">
      <dgm:prSet presAssocID="{0A407629-5C81-4B2E-AAE3-5686BC542F30}" presName="hierChild4" presStyleCnt="0"/>
      <dgm:spPr/>
    </dgm:pt>
    <dgm:pt modelId="{9ADF5D58-2A9B-428E-BFF7-1DD3B7DFA732}" type="pres">
      <dgm:prSet presAssocID="{8157B17D-C0A5-497C-AD27-C87E0E6F79B6}" presName="Name37" presStyleLbl="parChTrans1D3" presStyleIdx="2" presStyleCnt="6"/>
      <dgm:spPr/>
    </dgm:pt>
    <dgm:pt modelId="{9A44E9FD-3E31-4FA6-B9D5-518C5E1F3AE6}" type="pres">
      <dgm:prSet presAssocID="{98911E05-5256-43D3-8F15-F388F7F2ECBF}" presName="hierRoot2" presStyleCnt="0">
        <dgm:presLayoutVars>
          <dgm:hierBranch val="init"/>
        </dgm:presLayoutVars>
      </dgm:prSet>
      <dgm:spPr/>
    </dgm:pt>
    <dgm:pt modelId="{CD22AD2D-9876-4CAA-9FB5-80720E96345E}" type="pres">
      <dgm:prSet presAssocID="{98911E05-5256-43D3-8F15-F388F7F2ECBF}" presName="rootComposite" presStyleCnt="0"/>
      <dgm:spPr/>
    </dgm:pt>
    <dgm:pt modelId="{DE9DF21E-BECD-4EF4-AA79-1BF15D87AB5C}" type="pres">
      <dgm:prSet presAssocID="{98911E05-5256-43D3-8F15-F388F7F2ECBF}" presName="rootText" presStyleLbl="node3" presStyleIdx="2" presStyleCnt="6" custScaleX="85516" custScaleY="213694" custLinFactY="50227" custLinFactNeighborX="-11856" custLinFactNeighborY="100000">
        <dgm:presLayoutVars>
          <dgm:chPref val="3"/>
        </dgm:presLayoutVars>
      </dgm:prSet>
      <dgm:spPr/>
    </dgm:pt>
    <dgm:pt modelId="{077A817E-7B63-46B2-A4F8-96A604ADB133}" type="pres">
      <dgm:prSet presAssocID="{98911E05-5256-43D3-8F15-F388F7F2ECBF}" presName="rootConnector" presStyleLbl="node3" presStyleIdx="2" presStyleCnt="6"/>
      <dgm:spPr/>
    </dgm:pt>
    <dgm:pt modelId="{B988BDAB-B1BA-48B5-9B91-3C5B42918E5F}" type="pres">
      <dgm:prSet presAssocID="{98911E05-5256-43D3-8F15-F388F7F2ECBF}" presName="hierChild4" presStyleCnt="0"/>
      <dgm:spPr/>
    </dgm:pt>
    <dgm:pt modelId="{94960148-8AB7-444C-A5CF-F4C7D363EA13}" type="pres">
      <dgm:prSet presAssocID="{98911E05-5256-43D3-8F15-F388F7F2ECBF}" presName="hierChild5" presStyleCnt="0"/>
      <dgm:spPr/>
    </dgm:pt>
    <dgm:pt modelId="{84169ACC-03CE-4C3B-B13B-4ACA2097A1B1}" type="pres">
      <dgm:prSet presAssocID="{4B4A9819-15D2-46A2-A501-4FABEC801A40}" presName="Name37" presStyleLbl="parChTrans1D3" presStyleIdx="3" presStyleCnt="6"/>
      <dgm:spPr/>
    </dgm:pt>
    <dgm:pt modelId="{14D0184F-BD13-4056-8096-A1F69BA7DA6D}" type="pres">
      <dgm:prSet presAssocID="{DCD13215-AB22-47FC-94EC-6A8919379848}" presName="hierRoot2" presStyleCnt="0">
        <dgm:presLayoutVars>
          <dgm:hierBranch val="init"/>
        </dgm:presLayoutVars>
      </dgm:prSet>
      <dgm:spPr/>
    </dgm:pt>
    <dgm:pt modelId="{8F9B405C-63BD-4375-9CF8-7DFAFC55E9EB}" type="pres">
      <dgm:prSet presAssocID="{DCD13215-AB22-47FC-94EC-6A8919379848}" presName="rootComposite" presStyleCnt="0"/>
      <dgm:spPr/>
    </dgm:pt>
    <dgm:pt modelId="{1F785A9B-205B-4924-9591-4AE4FCC2034F}" type="pres">
      <dgm:prSet presAssocID="{DCD13215-AB22-47FC-94EC-6A8919379848}" presName="rootText" presStyleLbl="node3" presStyleIdx="3" presStyleCnt="6" custLinFactY="-100000" custLinFactNeighborX="-13651" custLinFactNeighborY="-155959">
        <dgm:presLayoutVars>
          <dgm:chPref val="3"/>
        </dgm:presLayoutVars>
      </dgm:prSet>
      <dgm:spPr/>
    </dgm:pt>
    <dgm:pt modelId="{B7FD5481-3DDA-4291-BF82-C15429C3576F}" type="pres">
      <dgm:prSet presAssocID="{DCD13215-AB22-47FC-94EC-6A8919379848}" presName="rootConnector" presStyleLbl="node3" presStyleIdx="3" presStyleCnt="6"/>
      <dgm:spPr/>
    </dgm:pt>
    <dgm:pt modelId="{36D8C610-C2C5-4635-9DAB-183314BED60F}" type="pres">
      <dgm:prSet presAssocID="{DCD13215-AB22-47FC-94EC-6A8919379848}" presName="hierChild4" presStyleCnt="0"/>
      <dgm:spPr/>
    </dgm:pt>
    <dgm:pt modelId="{1754142B-CFB5-46B8-855D-C6B0C64C6B5A}" type="pres">
      <dgm:prSet presAssocID="{DCD13215-AB22-47FC-94EC-6A8919379848}" presName="hierChild5" presStyleCnt="0"/>
      <dgm:spPr/>
    </dgm:pt>
    <dgm:pt modelId="{FA4FF876-B150-4237-AB19-1D6F7D6AA12E}" type="pres">
      <dgm:prSet presAssocID="{0A407629-5C81-4B2E-AAE3-5686BC542F30}" presName="hierChild5" presStyleCnt="0"/>
      <dgm:spPr/>
    </dgm:pt>
    <dgm:pt modelId="{3DFDD4D8-FA06-40E4-A961-7B1E574D6A00}" type="pres">
      <dgm:prSet presAssocID="{1CE84810-60D4-448F-856B-56D03734B573}" presName="Name37" presStyleLbl="parChTrans1D2" presStyleIdx="3" presStyleCnt="5"/>
      <dgm:spPr/>
    </dgm:pt>
    <dgm:pt modelId="{5C9D6942-F339-4FD2-A6C6-5435661A0866}" type="pres">
      <dgm:prSet presAssocID="{9E13A2AD-4144-4668-AC22-E99C0649A523}" presName="hierRoot2" presStyleCnt="0">
        <dgm:presLayoutVars>
          <dgm:hierBranch val="init"/>
        </dgm:presLayoutVars>
      </dgm:prSet>
      <dgm:spPr/>
    </dgm:pt>
    <dgm:pt modelId="{23FA1448-EA04-4539-88D7-4440EC6A7913}" type="pres">
      <dgm:prSet presAssocID="{9E13A2AD-4144-4668-AC22-E99C0649A523}" presName="rootComposite" presStyleCnt="0"/>
      <dgm:spPr/>
    </dgm:pt>
    <dgm:pt modelId="{6708E2A3-1707-4E77-95A3-64D76FFF8B22}" type="pres">
      <dgm:prSet presAssocID="{9E13A2AD-4144-4668-AC22-E99C0649A523}" presName="rootText" presStyleLbl="node2" presStyleIdx="3" presStyleCnt="5" custScaleX="113269">
        <dgm:presLayoutVars>
          <dgm:chPref val="3"/>
        </dgm:presLayoutVars>
      </dgm:prSet>
      <dgm:spPr/>
    </dgm:pt>
    <dgm:pt modelId="{DCEB8949-EA0B-4CB1-9589-B554DD1C1D05}" type="pres">
      <dgm:prSet presAssocID="{9E13A2AD-4144-4668-AC22-E99C0649A523}" presName="rootConnector" presStyleLbl="node2" presStyleIdx="3" presStyleCnt="5"/>
      <dgm:spPr/>
    </dgm:pt>
    <dgm:pt modelId="{FCD1EB93-D7CA-48D8-BDCC-7C2A5CC9438A}" type="pres">
      <dgm:prSet presAssocID="{9E13A2AD-4144-4668-AC22-E99C0649A523}" presName="hierChild4" presStyleCnt="0"/>
      <dgm:spPr/>
    </dgm:pt>
    <dgm:pt modelId="{FAEBE53A-006B-46A6-AC92-EC7EF28B2A62}" type="pres">
      <dgm:prSet presAssocID="{462C7707-A845-48CA-B104-1A28C9FE5EC5}" presName="Name37" presStyleLbl="parChTrans1D3" presStyleIdx="4" presStyleCnt="6"/>
      <dgm:spPr/>
    </dgm:pt>
    <dgm:pt modelId="{29C4EC9E-9E49-41E2-AE16-E362C8E3D3FD}" type="pres">
      <dgm:prSet presAssocID="{A7984392-1EDF-43C6-A90C-A85937F3C147}" presName="hierRoot2" presStyleCnt="0">
        <dgm:presLayoutVars>
          <dgm:hierBranch val="init"/>
        </dgm:presLayoutVars>
      </dgm:prSet>
      <dgm:spPr/>
    </dgm:pt>
    <dgm:pt modelId="{03FAD6C7-029D-45C5-A6C1-1AEAE63E7AAA}" type="pres">
      <dgm:prSet presAssocID="{A7984392-1EDF-43C6-A90C-A85937F3C147}" presName="rootComposite" presStyleCnt="0"/>
      <dgm:spPr/>
    </dgm:pt>
    <dgm:pt modelId="{F85ECD57-8197-46CE-B189-89A7A65AB38F}" type="pres">
      <dgm:prSet presAssocID="{A7984392-1EDF-43C6-A90C-A85937F3C147}" presName="rootText" presStyleLbl="node3" presStyleIdx="4" presStyleCnt="6" custScaleX="89696" custScaleY="222067" custLinFactY="38776" custLinFactNeighborX="5593" custLinFactNeighborY="100000">
        <dgm:presLayoutVars>
          <dgm:chPref val="3"/>
        </dgm:presLayoutVars>
      </dgm:prSet>
      <dgm:spPr/>
    </dgm:pt>
    <dgm:pt modelId="{0FB9A607-2F48-4486-AFE7-70DCC0DB3EF7}" type="pres">
      <dgm:prSet presAssocID="{A7984392-1EDF-43C6-A90C-A85937F3C147}" presName="rootConnector" presStyleLbl="node3" presStyleIdx="4" presStyleCnt="6"/>
      <dgm:spPr/>
    </dgm:pt>
    <dgm:pt modelId="{36249021-CE49-4454-A6C8-C06D1DA015E7}" type="pres">
      <dgm:prSet presAssocID="{A7984392-1EDF-43C6-A90C-A85937F3C147}" presName="hierChild4" presStyleCnt="0"/>
      <dgm:spPr/>
    </dgm:pt>
    <dgm:pt modelId="{7EF6B234-0348-455C-B777-CD852D2E079C}" type="pres">
      <dgm:prSet presAssocID="{A7984392-1EDF-43C6-A90C-A85937F3C147}" presName="hierChild5" presStyleCnt="0"/>
      <dgm:spPr/>
    </dgm:pt>
    <dgm:pt modelId="{CCA95D2F-E869-487B-97FB-0A4038FB590A}" type="pres">
      <dgm:prSet presAssocID="{E9A1A712-C7B4-47D7-A6BF-028DDB2AE081}" presName="Name37" presStyleLbl="parChTrans1D3" presStyleIdx="5" presStyleCnt="6"/>
      <dgm:spPr/>
    </dgm:pt>
    <dgm:pt modelId="{FFF09DE4-3DFB-4CB5-ACD9-AE2471A96512}" type="pres">
      <dgm:prSet presAssocID="{9CA6AEE5-D6BC-4423-8C01-41CB878092D5}" presName="hierRoot2" presStyleCnt="0">
        <dgm:presLayoutVars>
          <dgm:hierBranch val="init"/>
        </dgm:presLayoutVars>
      </dgm:prSet>
      <dgm:spPr/>
    </dgm:pt>
    <dgm:pt modelId="{9A8102BF-11ED-43B3-88A6-FFCC59F2ED7D}" type="pres">
      <dgm:prSet presAssocID="{9CA6AEE5-D6BC-4423-8C01-41CB878092D5}" presName="rootComposite" presStyleCnt="0"/>
      <dgm:spPr/>
    </dgm:pt>
    <dgm:pt modelId="{6B165EE7-58FD-4E75-BBC2-DA2C78D999C8}" type="pres">
      <dgm:prSet presAssocID="{9CA6AEE5-D6BC-4423-8C01-41CB878092D5}" presName="rootText" presStyleLbl="node3" presStyleIdx="5" presStyleCnt="6" custLinFactY="-100000" custLinFactNeighborX="-6826" custLinFactNeighborY="-160510">
        <dgm:presLayoutVars>
          <dgm:chPref val="3"/>
        </dgm:presLayoutVars>
      </dgm:prSet>
      <dgm:spPr/>
    </dgm:pt>
    <dgm:pt modelId="{FBD0912A-3991-4439-88F1-6C01435C713D}" type="pres">
      <dgm:prSet presAssocID="{9CA6AEE5-D6BC-4423-8C01-41CB878092D5}" presName="rootConnector" presStyleLbl="node3" presStyleIdx="5" presStyleCnt="6"/>
      <dgm:spPr/>
    </dgm:pt>
    <dgm:pt modelId="{9BF655C9-F26D-49E7-A902-880BD62570CA}" type="pres">
      <dgm:prSet presAssocID="{9CA6AEE5-D6BC-4423-8C01-41CB878092D5}" presName="hierChild4" presStyleCnt="0"/>
      <dgm:spPr/>
    </dgm:pt>
    <dgm:pt modelId="{FAFC3371-B2D7-4759-BF26-C8E5F964168C}" type="pres">
      <dgm:prSet presAssocID="{9CA6AEE5-D6BC-4423-8C01-41CB878092D5}" presName="hierChild5" presStyleCnt="0"/>
      <dgm:spPr/>
    </dgm:pt>
    <dgm:pt modelId="{E5145F36-0B3F-4493-A4F0-5E37F38A9555}" type="pres">
      <dgm:prSet presAssocID="{9E13A2AD-4144-4668-AC22-E99C0649A523}" presName="hierChild5" presStyleCnt="0"/>
      <dgm:spPr/>
    </dgm:pt>
    <dgm:pt modelId="{50B9202D-76FE-481F-A1BA-DD5F66E293BA}" type="pres">
      <dgm:prSet presAssocID="{AF34F879-CA4A-400E-9F55-F34CD7E492D5}" presName="Name37" presStyleLbl="parChTrans1D2" presStyleIdx="4" presStyleCnt="5"/>
      <dgm:spPr/>
    </dgm:pt>
    <dgm:pt modelId="{EE71A022-B4F3-4A07-AB00-9C5E9BF6BD91}" type="pres">
      <dgm:prSet presAssocID="{1D4703CB-CA3B-4A85-9AEA-29504DC8C84B}" presName="hierRoot2" presStyleCnt="0">
        <dgm:presLayoutVars>
          <dgm:hierBranch val="init"/>
        </dgm:presLayoutVars>
      </dgm:prSet>
      <dgm:spPr/>
    </dgm:pt>
    <dgm:pt modelId="{6338662F-0CE2-4854-B6FE-E2EE6F8F21EF}" type="pres">
      <dgm:prSet presAssocID="{1D4703CB-CA3B-4A85-9AEA-29504DC8C84B}" presName="rootComposite" presStyleCnt="0"/>
      <dgm:spPr/>
    </dgm:pt>
    <dgm:pt modelId="{68515D6E-BBCF-452C-966C-21EDECA0AFF3}" type="pres">
      <dgm:prSet presAssocID="{1D4703CB-CA3B-4A85-9AEA-29504DC8C84B}" presName="rootText" presStyleLbl="node2" presStyleIdx="4" presStyleCnt="5" custScaleX="99680" custScaleY="126718" custLinFactNeighborX="-11712" custLinFactNeighborY="-872">
        <dgm:presLayoutVars>
          <dgm:chPref val="3"/>
        </dgm:presLayoutVars>
      </dgm:prSet>
      <dgm:spPr/>
    </dgm:pt>
    <dgm:pt modelId="{0E1968E2-AA50-42AD-B62D-7CEDC56152B8}" type="pres">
      <dgm:prSet presAssocID="{1D4703CB-CA3B-4A85-9AEA-29504DC8C84B}" presName="rootConnector" presStyleLbl="node2" presStyleIdx="4" presStyleCnt="5"/>
      <dgm:spPr/>
    </dgm:pt>
    <dgm:pt modelId="{089E2663-C5EC-4A29-8299-A26EB80B941F}" type="pres">
      <dgm:prSet presAssocID="{1D4703CB-CA3B-4A85-9AEA-29504DC8C84B}" presName="hierChild4" presStyleCnt="0"/>
      <dgm:spPr/>
    </dgm:pt>
    <dgm:pt modelId="{85AB8400-4BB3-4058-8866-2C63C824DB37}" type="pres">
      <dgm:prSet presAssocID="{1D4703CB-CA3B-4A85-9AEA-29504DC8C84B}" presName="hierChild5" presStyleCnt="0"/>
      <dgm:spPr/>
    </dgm:pt>
    <dgm:pt modelId="{C8307988-3A93-4014-B81C-93C5A3867044}" type="pres">
      <dgm:prSet presAssocID="{377B4E35-802C-4BB6-9369-8CE4971AD27C}" presName="hierChild3" presStyleCnt="0"/>
      <dgm:spPr/>
    </dgm:pt>
  </dgm:ptLst>
  <dgm:cxnLst>
    <dgm:cxn modelId="{3BB37102-2BF5-4B73-B8B1-D024A9F704CE}" type="presOf" srcId="{4B4A9819-15D2-46A2-A501-4FABEC801A40}" destId="{84169ACC-03CE-4C3B-B13B-4ACA2097A1B1}" srcOrd="0" destOrd="0" presId="urn:microsoft.com/office/officeart/2005/8/layout/orgChart1"/>
    <dgm:cxn modelId="{BD37E407-4C46-468B-8BBC-80421ADEBF90}" srcId="{377B4E35-802C-4BB6-9369-8CE4971AD27C}" destId="{1D4703CB-CA3B-4A85-9AEA-29504DC8C84B}" srcOrd="4" destOrd="0" parTransId="{AF34F879-CA4A-400E-9F55-F34CD7E492D5}" sibTransId="{79FE1A54-54B2-4D28-B159-BCC126A27914}"/>
    <dgm:cxn modelId="{DE3FA809-F32E-4E65-B56D-C0F932470978}" type="presOf" srcId="{BA2D8891-C3C5-4213-B854-76A02E476629}" destId="{FCE3492B-750B-4CDC-B2F8-99FEEBF35A45}" srcOrd="1" destOrd="0" presId="urn:microsoft.com/office/officeart/2005/8/layout/orgChart1"/>
    <dgm:cxn modelId="{0BD3B30A-CB75-49BB-8F0A-EE58AB2C8A3D}" type="presOf" srcId="{E9A1A712-C7B4-47D7-A6BF-028DDB2AE081}" destId="{CCA95D2F-E869-487B-97FB-0A4038FB590A}" srcOrd="0" destOrd="0" presId="urn:microsoft.com/office/officeart/2005/8/layout/orgChart1"/>
    <dgm:cxn modelId="{16406A0B-D28B-4522-8A58-86043C334469}" type="presOf" srcId="{A7984392-1EDF-43C6-A90C-A85937F3C147}" destId="{F85ECD57-8197-46CE-B189-89A7A65AB38F}" srcOrd="0" destOrd="0" presId="urn:microsoft.com/office/officeart/2005/8/layout/orgChart1"/>
    <dgm:cxn modelId="{1CA2A30D-A5A6-4A0B-AFE0-F6C8560A1073}" type="presOf" srcId="{8CA557FB-7F91-4814-BD39-24539FD724DE}" destId="{51C4098E-2641-4515-8BD8-9F43572CF1A8}" srcOrd="1" destOrd="0" presId="urn:microsoft.com/office/officeart/2005/8/layout/orgChart1"/>
    <dgm:cxn modelId="{F7B5B215-C1A4-41CE-A7C5-CF6B718BA7D4}" type="presOf" srcId="{FBFE396B-0EB0-4C24-9A10-B8A3510DB266}" destId="{A81F448A-26D0-434E-9A6F-97A073B50594}" srcOrd="0" destOrd="0" presId="urn:microsoft.com/office/officeart/2005/8/layout/orgChart1"/>
    <dgm:cxn modelId="{80B1D620-8809-4833-9218-20985F842320}" type="presOf" srcId="{9E13A2AD-4144-4668-AC22-E99C0649A523}" destId="{DCEB8949-EA0B-4CB1-9589-B554DD1C1D05}" srcOrd="1" destOrd="0" presId="urn:microsoft.com/office/officeart/2005/8/layout/orgChart1"/>
    <dgm:cxn modelId="{9610C631-0EA4-4527-9983-DFE00BCDD407}" srcId="{377B4E35-802C-4BB6-9369-8CE4971AD27C}" destId="{0A407629-5C81-4B2E-AAE3-5686BC542F30}" srcOrd="2" destOrd="0" parTransId="{635DA10A-914D-473F-94CC-53CD1CE1608F}" sibTransId="{B67A6403-2F80-4D70-8317-ED9AEB9D5C66}"/>
    <dgm:cxn modelId="{954D3632-79D9-41B2-89C3-1A98309C6521}" type="presOf" srcId="{635DA10A-914D-473F-94CC-53CD1CE1608F}" destId="{79A1C0EF-2A7A-46A9-B764-9B32F8CE1E32}" srcOrd="0" destOrd="0" presId="urn:microsoft.com/office/officeart/2005/8/layout/orgChart1"/>
    <dgm:cxn modelId="{ED86AA34-4CB6-4734-953C-A15CB35BC05F}" type="presOf" srcId="{A7984392-1EDF-43C6-A90C-A85937F3C147}" destId="{0FB9A607-2F48-4486-AFE7-70DCC0DB3EF7}" srcOrd="1" destOrd="0" presId="urn:microsoft.com/office/officeart/2005/8/layout/orgChart1"/>
    <dgm:cxn modelId="{A35C8E37-6B28-4340-8D86-EA43DDFADC03}" type="presOf" srcId="{462C7707-A845-48CA-B104-1A28C9FE5EC5}" destId="{FAEBE53A-006B-46A6-AC92-EC7EF28B2A62}" srcOrd="0" destOrd="0" presId="urn:microsoft.com/office/officeart/2005/8/layout/orgChart1"/>
    <dgm:cxn modelId="{74CC4038-0522-42B8-8B8C-3035107025EB}" type="presOf" srcId="{9CA6AEE5-D6BC-4423-8C01-41CB878092D5}" destId="{FBD0912A-3991-4439-88F1-6C01435C713D}" srcOrd="1" destOrd="0" presId="urn:microsoft.com/office/officeart/2005/8/layout/orgChart1"/>
    <dgm:cxn modelId="{18EB283D-3E03-4905-A9B3-BD2D0708957C}" srcId="{0A407629-5C81-4B2E-AAE3-5686BC542F30}" destId="{DCD13215-AB22-47FC-94EC-6A8919379848}" srcOrd="1" destOrd="0" parTransId="{4B4A9819-15D2-46A2-A501-4FABEC801A40}" sibTransId="{149E585B-9DB6-4DC4-979D-0199FDDD7FBC}"/>
    <dgm:cxn modelId="{CFC4B03E-ED81-4349-8271-70DCF13D0B28}" type="presOf" srcId="{9E13A2AD-4144-4668-AC22-E99C0649A523}" destId="{6708E2A3-1707-4E77-95A3-64D76FFF8B22}" srcOrd="0" destOrd="0" presId="urn:microsoft.com/office/officeart/2005/8/layout/orgChart1"/>
    <dgm:cxn modelId="{98231D42-BD46-4C2F-9A88-5B0EF97774A0}" srcId="{5CF2707B-2D2E-4A50-945C-7FDC876D1351}" destId="{377B4E35-802C-4BB6-9369-8CE4971AD27C}" srcOrd="0" destOrd="0" parTransId="{05AD968B-D298-42D2-9553-0B132E699F8D}" sibTransId="{AA344322-6715-4901-A417-60AF29778BCF}"/>
    <dgm:cxn modelId="{51B45463-4480-47E2-80FD-2BE0D5998616}" type="presOf" srcId="{BA2D8891-C3C5-4213-B854-76A02E476629}" destId="{3A5726E2-EB72-44C6-B2EF-0DC37C6EBC2D}" srcOrd="0" destOrd="0" presId="urn:microsoft.com/office/officeart/2005/8/layout/orgChart1"/>
    <dgm:cxn modelId="{CC169043-87C6-4291-A7E5-D5B1160E426B}" srcId="{377B4E35-802C-4BB6-9369-8CE4971AD27C}" destId="{BA2D8891-C3C5-4213-B854-76A02E476629}" srcOrd="1" destOrd="0" parTransId="{6CED5C74-76E3-4AF5-9515-C1C61B7225A8}" sibTransId="{2534689E-1DD1-4D40-A1A8-C1182A5D1CCD}"/>
    <dgm:cxn modelId="{7770CD63-DB5A-435E-AEB1-B83CBC67DD1E}" type="presOf" srcId="{FBFE396B-0EB0-4C24-9A10-B8A3510DB266}" destId="{3C62239E-EACF-4AB4-860E-4E80934FD6EF}" srcOrd="1" destOrd="0" presId="urn:microsoft.com/office/officeart/2005/8/layout/orgChart1"/>
    <dgm:cxn modelId="{AE6C5944-922C-47DB-8980-58837DFD99E0}" type="presOf" srcId="{FEAE965E-B575-46E4-9092-5E51CF91E886}" destId="{32457FB0-5E88-4831-9909-8939DFFDAF1E}" srcOrd="0" destOrd="0" presId="urn:microsoft.com/office/officeart/2005/8/layout/orgChart1"/>
    <dgm:cxn modelId="{A82CB168-5400-4F52-9626-3155300643CC}" type="presOf" srcId="{98911E05-5256-43D3-8F15-F388F7F2ECBF}" destId="{077A817E-7B63-46B2-A4F8-96A604ADB133}" srcOrd="1" destOrd="0" presId="urn:microsoft.com/office/officeart/2005/8/layout/orgChart1"/>
    <dgm:cxn modelId="{3652C16B-0197-44B4-9843-A1FB2718652B}" type="presOf" srcId="{0A407629-5C81-4B2E-AAE3-5686BC542F30}" destId="{25E8727D-3A0E-44C1-89CE-D420743D1F24}" srcOrd="1" destOrd="0" presId="urn:microsoft.com/office/officeart/2005/8/layout/orgChart1"/>
    <dgm:cxn modelId="{9C0BB94D-D4AE-454D-91AF-2566F9D2B00D}" srcId="{BA2D8891-C3C5-4213-B854-76A02E476629}" destId="{FBFE396B-0EB0-4C24-9A10-B8A3510DB266}" srcOrd="1" destOrd="0" parTransId="{503F264D-3EDA-40C0-8FEB-F196432C8086}" sibTransId="{937E061C-5C46-4B39-A060-8274969F7362}"/>
    <dgm:cxn modelId="{BD1A4A51-44C6-40E2-99B3-A6AC40CDAE3B}" type="presOf" srcId="{6CED5C74-76E3-4AF5-9515-C1C61B7225A8}" destId="{01A2D364-F553-4626-8857-FEB6F95EEBF4}" srcOrd="0" destOrd="0" presId="urn:microsoft.com/office/officeart/2005/8/layout/orgChart1"/>
    <dgm:cxn modelId="{D95FD452-6D3F-40AC-9D40-6F93BE789E71}" srcId="{377B4E35-802C-4BB6-9369-8CE4971AD27C}" destId="{FEAE965E-B575-46E4-9092-5E51CF91E886}" srcOrd="0" destOrd="0" parTransId="{A0113C01-655D-4C63-B008-C2AB797671BD}" sibTransId="{BD410204-186F-44F1-BE1E-1A83B08B18BF}"/>
    <dgm:cxn modelId="{58804554-C931-47F8-A152-6DDBAB8FB7DF}" type="presOf" srcId="{98911E05-5256-43D3-8F15-F388F7F2ECBF}" destId="{DE9DF21E-BECD-4EF4-AA79-1BF15D87AB5C}" srcOrd="0" destOrd="0" presId="urn:microsoft.com/office/officeart/2005/8/layout/orgChart1"/>
    <dgm:cxn modelId="{4C8D6F55-E55D-4D29-9EBB-22149903EFFF}" type="presOf" srcId="{DCD13215-AB22-47FC-94EC-6A8919379848}" destId="{B7FD5481-3DDA-4291-BF82-C15429C3576F}" srcOrd="1" destOrd="0" presId="urn:microsoft.com/office/officeart/2005/8/layout/orgChart1"/>
    <dgm:cxn modelId="{973F7675-7F37-45E1-817D-F8652DA43041}" type="presOf" srcId="{5CF2707B-2D2E-4A50-945C-7FDC876D1351}" destId="{7FF5826C-2DB6-42EE-8B87-43FD6AD885F7}" srcOrd="0" destOrd="0" presId="urn:microsoft.com/office/officeart/2005/8/layout/orgChart1"/>
    <dgm:cxn modelId="{22BFA955-FE13-49DE-B637-0F12DE03348B}" srcId="{9E13A2AD-4144-4668-AC22-E99C0649A523}" destId="{9CA6AEE5-D6BC-4423-8C01-41CB878092D5}" srcOrd="1" destOrd="0" parTransId="{E9A1A712-C7B4-47D7-A6BF-028DDB2AE081}" sibTransId="{A88F9833-479A-4E8F-A0D3-957DD0331000}"/>
    <dgm:cxn modelId="{7663C57D-ADA0-4081-ADA7-422217486BA4}" type="presOf" srcId="{1D4703CB-CA3B-4A85-9AEA-29504DC8C84B}" destId="{0E1968E2-AA50-42AD-B62D-7CEDC56152B8}" srcOrd="1" destOrd="0" presId="urn:microsoft.com/office/officeart/2005/8/layout/orgChart1"/>
    <dgm:cxn modelId="{6E96FD7F-4CE6-4F77-B71A-31BE7E3DEC0F}" type="presOf" srcId="{8CA557FB-7F91-4814-BD39-24539FD724DE}" destId="{A43AF624-D113-4F4E-B541-09611DDD458C}" srcOrd="0" destOrd="0" presId="urn:microsoft.com/office/officeart/2005/8/layout/orgChart1"/>
    <dgm:cxn modelId="{7EA1BD85-62D0-4AA5-ACAF-F5C124645F5A}" type="presOf" srcId="{FEAE965E-B575-46E4-9092-5E51CF91E886}" destId="{4679DE1F-20A4-4CBD-9269-CB92CE4EA089}" srcOrd="1" destOrd="0" presId="urn:microsoft.com/office/officeart/2005/8/layout/orgChart1"/>
    <dgm:cxn modelId="{E93CB18D-1167-4EE4-9CF5-350B42AA55D8}" type="presOf" srcId="{AF34F879-CA4A-400E-9F55-F34CD7E492D5}" destId="{50B9202D-76FE-481F-A1BA-DD5F66E293BA}" srcOrd="0" destOrd="0" presId="urn:microsoft.com/office/officeart/2005/8/layout/orgChart1"/>
    <dgm:cxn modelId="{A79C6B93-8F9C-471B-B83A-CA89E10BDE11}" type="presOf" srcId="{A0113C01-655D-4C63-B008-C2AB797671BD}" destId="{6583E6A3-9E26-4B6C-88FC-10BE341055DE}" srcOrd="0" destOrd="0" presId="urn:microsoft.com/office/officeart/2005/8/layout/orgChart1"/>
    <dgm:cxn modelId="{D25D8F96-6655-46BE-A746-6E8DFE9C1499}" srcId="{0A407629-5C81-4B2E-AAE3-5686BC542F30}" destId="{98911E05-5256-43D3-8F15-F388F7F2ECBF}" srcOrd="0" destOrd="0" parTransId="{8157B17D-C0A5-497C-AD27-C87E0E6F79B6}" sibTransId="{D2BB37EA-E37A-4ED1-AEE3-DAB105FDD12A}"/>
    <dgm:cxn modelId="{E2FE85A2-1998-421C-BDF2-8DCB11E11BD4}" type="presOf" srcId="{377B4E35-802C-4BB6-9369-8CE4971AD27C}" destId="{16BE545C-C46E-461B-9388-5EAB3F39BAD5}" srcOrd="1" destOrd="0" presId="urn:microsoft.com/office/officeart/2005/8/layout/orgChart1"/>
    <dgm:cxn modelId="{6E4BC4A8-9FB8-4C67-9DBC-9D7555633A8A}" type="presOf" srcId="{1CE84810-60D4-448F-856B-56D03734B573}" destId="{3DFDD4D8-FA06-40E4-A961-7B1E574D6A00}" srcOrd="0" destOrd="0" presId="urn:microsoft.com/office/officeart/2005/8/layout/orgChart1"/>
    <dgm:cxn modelId="{E589E8AA-440C-4AF1-9EAB-BE11769143E8}" type="presOf" srcId="{D910D0ED-2E34-406B-A938-AFEF12175A36}" destId="{8440273B-540C-46FC-8877-9CDA9BEA4C39}" srcOrd="0" destOrd="0" presId="urn:microsoft.com/office/officeart/2005/8/layout/orgChart1"/>
    <dgm:cxn modelId="{DCE7A4AE-E914-4DAC-BB55-A14F161A712B}" type="presOf" srcId="{9CA6AEE5-D6BC-4423-8C01-41CB878092D5}" destId="{6B165EE7-58FD-4E75-BBC2-DA2C78D999C8}" srcOrd="0" destOrd="0" presId="urn:microsoft.com/office/officeart/2005/8/layout/orgChart1"/>
    <dgm:cxn modelId="{2C5E3BB6-717E-4EB2-A1FE-36A24639C834}" type="presOf" srcId="{1D4703CB-CA3B-4A85-9AEA-29504DC8C84B}" destId="{68515D6E-BBCF-452C-966C-21EDECA0AFF3}" srcOrd="0" destOrd="0" presId="urn:microsoft.com/office/officeart/2005/8/layout/orgChart1"/>
    <dgm:cxn modelId="{6DC5E8BD-5356-425F-8B74-6472967734DD}" type="presOf" srcId="{0A407629-5C81-4B2E-AAE3-5686BC542F30}" destId="{A5E0EA24-A4CC-4DF2-9B13-2ABA685F3868}" srcOrd="0" destOrd="0" presId="urn:microsoft.com/office/officeart/2005/8/layout/orgChart1"/>
    <dgm:cxn modelId="{326713BE-7BF2-4A25-AC6D-FC424DC443C4}" type="presOf" srcId="{8157B17D-C0A5-497C-AD27-C87E0E6F79B6}" destId="{9ADF5D58-2A9B-428E-BFF7-1DD3B7DFA732}" srcOrd="0" destOrd="0" presId="urn:microsoft.com/office/officeart/2005/8/layout/orgChart1"/>
    <dgm:cxn modelId="{921DAECB-64E4-430A-BFEC-87BA72C8A60A}" type="presOf" srcId="{DCD13215-AB22-47FC-94EC-6A8919379848}" destId="{1F785A9B-205B-4924-9591-4AE4FCC2034F}" srcOrd="0" destOrd="0" presId="urn:microsoft.com/office/officeart/2005/8/layout/orgChart1"/>
    <dgm:cxn modelId="{8EB75ED1-A037-4CD3-A793-99F695EAC853}" srcId="{9E13A2AD-4144-4668-AC22-E99C0649A523}" destId="{A7984392-1EDF-43C6-A90C-A85937F3C147}" srcOrd="0" destOrd="0" parTransId="{462C7707-A845-48CA-B104-1A28C9FE5EC5}" sibTransId="{B420B411-8BEB-47DE-AFE9-894D02BECE0D}"/>
    <dgm:cxn modelId="{C913F4D6-48B9-4328-BF8F-9A19C80BE65F}" type="presOf" srcId="{503F264D-3EDA-40C0-8FEB-F196432C8086}" destId="{2A7C331B-632B-4890-94BA-0799E54A6572}" srcOrd="0" destOrd="0" presId="urn:microsoft.com/office/officeart/2005/8/layout/orgChart1"/>
    <dgm:cxn modelId="{61D0A3DD-7DA2-4B37-9E3A-9391FCEE551F}" srcId="{BA2D8891-C3C5-4213-B854-76A02E476629}" destId="{8CA557FB-7F91-4814-BD39-24539FD724DE}" srcOrd="0" destOrd="0" parTransId="{D910D0ED-2E34-406B-A938-AFEF12175A36}" sibTransId="{279197B6-EEC7-4876-92C4-2B7BE02DD8D7}"/>
    <dgm:cxn modelId="{4642F2DE-9399-4600-94C4-BD559C560F1B}" srcId="{377B4E35-802C-4BB6-9369-8CE4971AD27C}" destId="{9E13A2AD-4144-4668-AC22-E99C0649A523}" srcOrd="3" destOrd="0" parTransId="{1CE84810-60D4-448F-856B-56D03734B573}" sibTransId="{0773D009-A4E7-4C2A-A2B1-A944AE96CE72}"/>
    <dgm:cxn modelId="{C658AAF0-343E-469B-8321-E30E8C68BE58}" type="presOf" srcId="{377B4E35-802C-4BB6-9369-8CE4971AD27C}" destId="{07682C41-9F4F-4424-8BA2-3DCA469121F8}" srcOrd="0" destOrd="0" presId="urn:microsoft.com/office/officeart/2005/8/layout/orgChart1"/>
    <dgm:cxn modelId="{32476BCB-6250-41FA-B00B-BD69CD0007F1}" type="presParOf" srcId="{7FF5826C-2DB6-42EE-8B87-43FD6AD885F7}" destId="{E4874F88-4D87-4588-BEF7-8898E4279D9A}" srcOrd="0" destOrd="0" presId="urn:microsoft.com/office/officeart/2005/8/layout/orgChart1"/>
    <dgm:cxn modelId="{E3AD6D29-F6AD-48D9-BA41-BEA9185EAF28}" type="presParOf" srcId="{E4874F88-4D87-4588-BEF7-8898E4279D9A}" destId="{BCD962CB-FEF2-49FA-9745-E93E5CF8CB81}" srcOrd="0" destOrd="0" presId="urn:microsoft.com/office/officeart/2005/8/layout/orgChart1"/>
    <dgm:cxn modelId="{9AA10FBE-20C9-4320-81F4-2A89D337192D}" type="presParOf" srcId="{BCD962CB-FEF2-49FA-9745-E93E5CF8CB81}" destId="{07682C41-9F4F-4424-8BA2-3DCA469121F8}" srcOrd="0" destOrd="0" presId="urn:microsoft.com/office/officeart/2005/8/layout/orgChart1"/>
    <dgm:cxn modelId="{D49E621A-E403-4BD2-AFE0-C959C7150CCF}" type="presParOf" srcId="{BCD962CB-FEF2-49FA-9745-E93E5CF8CB81}" destId="{16BE545C-C46E-461B-9388-5EAB3F39BAD5}" srcOrd="1" destOrd="0" presId="urn:microsoft.com/office/officeart/2005/8/layout/orgChart1"/>
    <dgm:cxn modelId="{020BFC0D-73C4-4980-98F1-E3FF49F4FCC8}" type="presParOf" srcId="{E4874F88-4D87-4588-BEF7-8898E4279D9A}" destId="{9FBAFB39-655F-4EE6-A83D-5B29E42F3878}" srcOrd="1" destOrd="0" presId="urn:microsoft.com/office/officeart/2005/8/layout/orgChart1"/>
    <dgm:cxn modelId="{3F8B3837-24C4-4C74-8C32-5429E2959ED1}" type="presParOf" srcId="{9FBAFB39-655F-4EE6-A83D-5B29E42F3878}" destId="{6583E6A3-9E26-4B6C-88FC-10BE341055DE}" srcOrd="0" destOrd="0" presId="urn:microsoft.com/office/officeart/2005/8/layout/orgChart1"/>
    <dgm:cxn modelId="{CC1E0E11-6262-41C0-AA17-F4A68F284E85}" type="presParOf" srcId="{9FBAFB39-655F-4EE6-A83D-5B29E42F3878}" destId="{8261953E-B24D-4ED2-937A-8FDF25A3BF8F}" srcOrd="1" destOrd="0" presId="urn:microsoft.com/office/officeart/2005/8/layout/orgChart1"/>
    <dgm:cxn modelId="{CF6DD7F8-C377-4E5C-BA7C-D85CCFD9B188}" type="presParOf" srcId="{8261953E-B24D-4ED2-937A-8FDF25A3BF8F}" destId="{B4ADD23E-A575-4AB2-AA75-05C5570AF3AA}" srcOrd="0" destOrd="0" presId="urn:microsoft.com/office/officeart/2005/8/layout/orgChart1"/>
    <dgm:cxn modelId="{8D020E71-F501-46BF-82B3-0A3B4A0F0D3B}" type="presParOf" srcId="{B4ADD23E-A575-4AB2-AA75-05C5570AF3AA}" destId="{32457FB0-5E88-4831-9909-8939DFFDAF1E}" srcOrd="0" destOrd="0" presId="urn:microsoft.com/office/officeart/2005/8/layout/orgChart1"/>
    <dgm:cxn modelId="{38211F1A-300A-4FEA-BF84-1667B13E95C6}" type="presParOf" srcId="{B4ADD23E-A575-4AB2-AA75-05C5570AF3AA}" destId="{4679DE1F-20A4-4CBD-9269-CB92CE4EA089}" srcOrd="1" destOrd="0" presId="urn:microsoft.com/office/officeart/2005/8/layout/orgChart1"/>
    <dgm:cxn modelId="{E9B5665B-1197-4028-990F-4586A5AAF93C}" type="presParOf" srcId="{8261953E-B24D-4ED2-937A-8FDF25A3BF8F}" destId="{95EB9E71-9D6B-4839-9EDE-F0E66C72A722}" srcOrd="1" destOrd="0" presId="urn:microsoft.com/office/officeart/2005/8/layout/orgChart1"/>
    <dgm:cxn modelId="{CB37583C-2846-4161-ABA0-732932983160}" type="presParOf" srcId="{8261953E-B24D-4ED2-937A-8FDF25A3BF8F}" destId="{D64650EF-2DDA-4BCC-BD9F-6F806212783F}" srcOrd="2" destOrd="0" presId="urn:microsoft.com/office/officeart/2005/8/layout/orgChart1"/>
    <dgm:cxn modelId="{308B61D8-7E38-4CD9-AD9C-087D116822C2}" type="presParOf" srcId="{9FBAFB39-655F-4EE6-A83D-5B29E42F3878}" destId="{01A2D364-F553-4626-8857-FEB6F95EEBF4}" srcOrd="2" destOrd="0" presId="urn:microsoft.com/office/officeart/2005/8/layout/orgChart1"/>
    <dgm:cxn modelId="{174255EC-7948-4582-9150-55A4875F44C5}" type="presParOf" srcId="{9FBAFB39-655F-4EE6-A83D-5B29E42F3878}" destId="{AD4C7895-6A5D-429B-94E1-AC214BB108E5}" srcOrd="3" destOrd="0" presId="urn:microsoft.com/office/officeart/2005/8/layout/orgChart1"/>
    <dgm:cxn modelId="{05F2F52B-766E-48C6-8E1F-6DE2C332A54C}" type="presParOf" srcId="{AD4C7895-6A5D-429B-94E1-AC214BB108E5}" destId="{BBBC4B54-1D43-4463-AA3E-26C9E3EFCAB9}" srcOrd="0" destOrd="0" presId="urn:microsoft.com/office/officeart/2005/8/layout/orgChart1"/>
    <dgm:cxn modelId="{F3B2FCBA-8CAA-4611-A432-9C28E7B789E9}" type="presParOf" srcId="{BBBC4B54-1D43-4463-AA3E-26C9E3EFCAB9}" destId="{3A5726E2-EB72-44C6-B2EF-0DC37C6EBC2D}" srcOrd="0" destOrd="0" presId="urn:microsoft.com/office/officeart/2005/8/layout/orgChart1"/>
    <dgm:cxn modelId="{DACD2467-B891-41C3-99AE-5AD0B3A1B8A6}" type="presParOf" srcId="{BBBC4B54-1D43-4463-AA3E-26C9E3EFCAB9}" destId="{FCE3492B-750B-4CDC-B2F8-99FEEBF35A45}" srcOrd="1" destOrd="0" presId="urn:microsoft.com/office/officeart/2005/8/layout/orgChart1"/>
    <dgm:cxn modelId="{10628636-7BCC-4A44-98FC-E2ED97E32901}" type="presParOf" srcId="{AD4C7895-6A5D-429B-94E1-AC214BB108E5}" destId="{D596A7DF-BAA2-49D9-B2F1-78FACF4E00DB}" srcOrd="1" destOrd="0" presId="urn:microsoft.com/office/officeart/2005/8/layout/orgChart1"/>
    <dgm:cxn modelId="{57BA031E-8BD6-4F58-B55B-CDEBE76538FD}" type="presParOf" srcId="{D596A7DF-BAA2-49D9-B2F1-78FACF4E00DB}" destId="{8440273B-540C-46FC-8877-9CDA9BEA4C39}" srcOrd="0" destOrd="0" presId="urn:microsoft.com/office/officeart/2005/8/layout/orgChart1"/>
    <dgm:cxn modelId="{4D3B9276-EB79-4E7E-AA97-8C2DE3BE326A}" type="presParOf" srcId="{D596A7DF-BAA2-49D9-B2F1-78FACF4E00DB}" destId="{463106F9-9B6F-4ECA-B449-041C9EDB2986}" srcOrd="1" destOrd="0" presId="urn:microsoft.com/office/officeart/2005/8/layout/orgChart1"/>
    <dgm:cxn modelId="{40692D19-C293-4074-B907-2B7505A350C8}" type="presParOf" srcId="{463106F9-9B6F-4ECA-B449-041C9EDB2986}" destId="{EB095A97-1B3C-4E6E-BCD1-0318D3F506C2}" srcOrd="0" destOrd="0" presId="urn:microsoft.com/office/officeart/2005/8/layout/orgChart1"/>
    <dgm:cxn modelId="{DFBA10F8-A606-43D3-B1A4-27E276482C92}" type="presParOf" srcId="{EB095A97-1B3C-4E6E-BCD1-0318D3F506C2}" destId="{A43AF624-D113-4F4E-B541-09611DDD458C}" srcOrd="0" destOrd="0" presId="urn:microsoft.com/office/officeart/2005/8/layout/orgChart1"/>
    <dgm:cxn modelId="{2011F688-AAA5-4E5A-A759-4CE67839CD70}" type="presParOf" srcId="{EB095A97-1B3C-4E6E-BCD1-0318D3F506C2}" destId="{51C4098E-2641-4515-8BD8-9F43572CF1A8}" srcOrd="1" destOrd="0" presId="urn:microsoft.com/office/officeart/2005/8/layout/orgChart1"/>
    <dgm:cxn modelId="{B9FF3511-3756-4072-9EF7-F9CDD241D505}" type="presParOf" srcId="{463106F9-9B6F-4ECA-B449-041C9EDB2986}" destId="{B0C614A7-D384-4C6F-AB82-2C34EA6F4AF1}" srcOrd="1" destOrd="0" presId="urn:microsoft.com/office/officeart/2005/8/layout/orgChart1"/>
    <dgm:cxn modelId="{A334C792-1710-4C72-80DC-3F12C3A234B7}" type="presParOf" srcId="{463106F9-9B6F-4ECA-B449-041C9EDB2986}" destId="{61C616B4-4037-4D41-A7C8-E8A217F8A80C}" srcOrd="2" destOrd="0" presId="urn:microsoft.com/office/officeart/2005/8/layout/orgChart1"/>
    <dgm:cxn modelId="{0CEB33AC-E802-4CB2-8531-F0DF3BDA003F}" type="presParOf" srcId="{D596A7DF-BAA2-49D9-B2F1-78FACF4E00DB}" destId="{2A7C331B-632B-4890-94BA-0799E54A6572}" srcOrd="2" destOrd="0" presId="urn:microsoft.com/office/officeart/2005/8/layout/orgChart1"/>
    <dgm:cxn modelId="{755E0F83-92AA-4311-AFE1-3B63E0C639FB}" type="presParOf" srcId="{D596A7DF-BAA2-49D9-B2F1-78FACF4E00DB}" destId="{2CCDDE4B-CC50-45D4-90AD-D1DCA8E7FFE9}" srcOrd="3" destOrd="0" presId="urn:microsoft.com/office/officeart/2005/8/layout/orgChart1"/>
    <dgm:cxn modelId="{A6465BB2-E1E0-4CAE-9D0E-38F08CC4DCFD}" type="presParOf" srcId="{2CCDDE4B-CC50-45D4-90AD-D1DCA8E7FFE9}" destId="{641DD41C-5A11-4E6B-82AE-5B210B43ECF7}" srcOrd="0" destOrd="0" presId="urn:microsoft.com/office/officeart/2005/8/layout/orgChart1"/>
    <dgm:cxn modelId="{AE875450-B604-4448-B606-76BDA3F9EDEA}" type="presParOf" srcId="{641DD41C-5A11-4E6B-82AE-5B210B43ECF7}" destId="{A81F448A-26D0-434E-9A6F-97A073B50594}" srcOrd="0" destOrd="0" presId="urn:microsoft.com/office/officeart/2005/8/layout/orgChart1"/>
    <dgm:cxn modelId="{CEE40352-7A31-435A-84D1-2B6C3FBE8F97}" type="presParOf" srcId="{641DD41C-5A11-4E6B-82AE-5B210B43ECF7}" destId="{3C62239E-EACF-4AB4-860E-4E80934FD6EF}" srcOrd="1" destOrd="0" presId="urn:microsoft.com/office/officeart/2005/8/layout/orgChart1"/>
    <dgm:cxn modelId="{31D57A98-B065-4BC1-B667-D58EADF8F3EF}" type="presParOf" srcId="{2CCDDE4B-CC50-45D4-90AD-D1DCA8E7FFE9}" destId="{675B0AE6-0F61-4C42-9C2D-1444F3F0D8FB}" srcOrd="1" destOrd="0" presId="urn:microsoft.com/office/officeart/2005/8/layout/orgChart1"/>
    <dgm:cxn modelId="{F2B68676-D669-41EB-BF38-C3F78AA6D360}" type="presParOf" srcId="{2CCDDE4B-CC50-45D4-90AD-D1DCA8E7FFE9}" destId="{499DFA33-F239-455C-9940-83ED0CB8F394}" srcOrd="2" destOrd="0" presId="urn:microsoft.com/office/officeart/2005/8/layout/orgChart1"/>
    <dgm:cxn modelId="{AEB56535-BC6B-422A-BA52-D7DAFFFD3639}" type="presParOf" srcId="{AD4C7895-6A5D-429B-94E1-AC214BB108E5}" destId="{C4C53846-CC90-46AF-8699-7A37F6A4D17A}" srcOrd="2" destOrd="0" presId="urn:microsoft.com/office/officeart/2005/8/layout/orgChart1"/>
    <dgm:cxn modelId="{EF308238-FE1B-4DA0-AC5F-F2FAC0CC74E3}" type="presParOf" srcId="{9FBAFB39-655F-4EE6-A83D-5B29E42F3878}" destId="{79A1C0EF-2A7A-46A9-B764-9B32F8CE1E32}" srcOrd="4" destOrd="0" presId="urn:microsoft.com/office/officeart/2005/8/layout/orgChart1"/>
    <dgm:cxn modelId="{5D1F3D99-4471-46F0-B072-1359B2EA22E5}" type="presParOf" srcId="{9FBAFB39-655F-4EE6-A83D-5B29E42F3878}" destId="{0C42BEA7-5077-45F7-8DA3-E39ACE9CDE16}" srcOrd="5" destOrd="0" presId="urn:microsoft.com/office/officeart/2005/8/layout/orgChart1"/>
    <dgm:cxn modelId="{D12BE898-8062-4573-8FB5-9C402F6A7078}" type="presParOf" srcId="{0C42BEA7-5077-45F7-8DA3-E39ACE9CDE16}" destId="{56721961-F205-4B86-9C38-3810721DA4FD}" srcOrd="0" destOrd="0" presId="urn:microsoft.com/office/officeart/2005/8/layout/orgChart1"/>
    <dgm:cxn modelId="{0071747E-CF53-4074-9DEB-B67ABBFECE1B}" type="presParOf" srcId="{56721961-F205-4B86-9C38-3810721DA4FD}" destId="{A5E0EA24-A4CC-4DF2-9B13-2ABA685F3868}" srcOrd="0" destOrd="0" presId="urn:microsoft.com/office/officeart/2005/8/layout/orgChart1"/>
    <dgm:cxn modelId="{39B6A9F6-B26C-46EE-967C-ACB3A405DB3E}" type="presParOf" srcId="{56721961-F205-4B86-9C38-3810721DA4FD}" destId="{25E8727D-3A0E-44C1-89CE-D420743D1F24}" srcOrd="1" destOrd="0" presId="urn:microsoft.com/office/officeart/2005/8/layout/orgChart1"/>
    <dgm:cxn modelId="{3D5009F3-3EC2-4109-88C5-4F773329A6B7}" type="presParOf" srcId="{0C42BEA7-5077-45F7-8DA3-E39ACE9CDE16}" destId="{98E9547D-A817-4350-BD58-5CF7E6DB0C7B}" srcOrd="1" destOrd="0" presId="urn:microsoft.com/office/officeart/2005/8/layout/orgChart1"/>
    <dgm:cxn modelId="{D5514FF6-D452-4F65-9FDF-5781E3FB12D3}" type="presParOf" srcId="{98E9547D-A817-4350-BD58-5CF7E6DB0C7B}" destId="{9ADF5D58-2A9B-428E-BFF7-1DD3B7DFA732}" srcOrd="0" destOrd="0" presId="urn:microsoft.com/office/officeart/2005/8/layout/orgChart1"/>
    <dgm:cxn modelId="{7C545375-A760-4432-ADEF-3B9202952570}" type="presParOf" srcId="{98E9547D-A817-4350-BD58-5CF7E6DB0C7B}" destId="{9A44E9FD-3E31-4FA6-B9D5-518C5E1F3AE6}" srcOrd="1" destOrd="0" presId="urn:microsoft.com/office/officeart/2005/8/layout/orgChart1"/>
    <dgm:cxn modelId="{984ADE5E-2FC7-426E-A1C8-EDCFB5923662}" type="presParOf" srcId="{9A44E9FD-3E31-4FA6-B9D5-518C5E1F3AE6}" destId="{CD22AD2D-9876-4CAA-9FB5-80720E96345E}" srcOrd="0" destOrd="0" presId="urn:microsoft.com/office/officeart/2005/8/layout/orgChart1"/>
    <dgm:cxn modelId="{6C259173-8A12-4313-AABA-5D3E5CA83A05}" type="presParOf" srcId="{CD22AD2D-9876-4CAA-9FB5-80720E96345E}" destId="{DE9DF21E-BECD-4EF4-AA79-1BF15D87AB5C}" srcOrd="0" destOrd="0" presId="urn:microsoft.com/office/officeart/2005/8/layout/orgChart1"/>
    <dgm:cxn modelId="{E2500802-98F1-4B6C-8392-BE1AA547E82C}" type="presParOf" srcId="{CD22AD2D-9876-4CAA-9FB5-80720E96345E}" destId="{077A817E-7B63-46B2-A4F8-96A604ADB133}" srcOrd="1" destOrd="0" presId="urn:microsoft.com/office/officeart/2005/8/layout/orgChart1"/>
    <dgm:cxn modelId="{8C64F054-35FD-4AE5-9B1B-DC1DFE75B413}" type="presParOf" srcId="{9A44E9FD-3E31-4FA6-B9D5-518C5E1F3AE6}" destId="{B988BDAB-B1BA-48B5-9B91-3C5B42918E5F}" srcOrd="1" destOrd="0" presId="urn:microsoft.com/office/officeart/2005/8/layout/orgChart1"/>
    <dgm:cxn modelId="{2BF05FB5-FD57-4F22-B0A1-3DF55A09EAAE}" type="presParOf" srcId="{9A44E9FD-3E31-4FA6-B9D5-518C5E1F3AE6}" destId="{94960148-8AB7-444C-A5CF-F4C7D363EA13}" srcOrd="2" destOrd="0" presId="urn:microsoft.com/office/officeart/2005/8/layout/orgChart1"/>
    <dgm:cxn modelId="{F21AAFB2-079E-4C54-979F-3039C086B8C7}" type="presParOf" srcId="{98E9547D-A817-4350-BD58-5CF7E6DB0C7B}" destId="{84169ACC-03CE-4C3B-B13B-4ACA2097A1B1}" srcOrd="2" destOrd="0" presId="urn:microsoft.com/office/officeart/2005/8/layout/orgChart1"/>
    <dgm:cxn modelId="{D14D7725-28F4-4D80-93A1-CF08DE053208}" type="presParOf" srcId="{98E9547D-A817-4350-BD58-5CF7E6DB0C7B}" destId="{14D0184F-BD13-4056-8096-A1F69BA7DA6D}" srcOrd="3" destOrd="0" presId="urn:microsoft.com/office/officeart/2005/8/layout/orgChart1"/>
    <dgm:cxn modelId="{1B8ACBC1-6D6B-4A9B-8FAE-71EEA02BF0EE}" type="presParOf" srcId="{14D0184F-BD13-4056-8096-A1F69BA7DA6D}" destId="{8F9B405C-63BD-4375-9CF8-7DFAFC55E9EB}" srcOrd="0" destOrd="0" presId="urn:microsoft.com/office/officeart/2005/8/layout/orgChart1"/>
    <dgm:cxn modelId="{1939A67B-8536-490E-A1AF-100DB3A2E123}" type="presParOf" srcId="{8F9B405C-63BD-4375-9CF8-7DFAFC55E9EB}" destId="{1F785A9B-205B-4924-9591-4AE4FCC2034F}" srcOrd="0" destOrd="0" presId="urn:microsoft.com/office/officeart/2005/8/layout/orgChart1"/>
    <dgm:cxn modelId="{E7715530-C609-4AE9-9656-46D016219290}" type="presParOf" srcId="{8F9B405C-63BD-4375-9CF8-7DFAFC55E9EB}" destId="{B7FD5481-3DDA-4291-BF82-C15429C3576F}" srcOrd="1" destOrd="0" presId="urn:microsoft.com/office/officeart/2005/8/layout/orgChart1"/>
    <dgm:cxn modelId="{2EF9B34B-F545-495E-B918-42A13C926804}" type="presParOf" srcId="{14D0184F-BD13-4056-8096-A1F69BA7DA6D}" destId="{36D8C610-C2C5-4635-9DAB-183314BED60F}" srcOrd="1" destOrd="0" presId="urn:microsoft.com/office/officeart/2005/8/layout/orgChart1"/>
    <dgm:cxn modelId="{4F6BD6B6-1B2E-4715-9160-3AA3CF16D160}" type="presParOf" srcId="{14D0184F-BD13-4056-8096-A1F69BA7DA6D}" destId="{1754142B-CFB5-46B8-855D-C6B0C64C6B5A}" srcOrd="2" destOrd="0" presId="urn:microsoft.com/office/officeart/2005/8/layout/orgChart1"/>
    <dgm:cxn modelId="{7DC291B3-643F-40A9-84C1-88EDE0697562}" type="presParOf" srcId="{0C42BEA7-5077-45F7-8DA3-E39ACE9CDE16}" destId="{FA4FF876-B150-4237-AB19-1D6F7D6AA12E}" srcOrd="2" destOrd="0" presId="urn:microsoft.com/office/officeart/2005/8/layout/orgChart1"/>
    <dgm:cxn modelId="{D0B6EEC4-813E-4084-9D8C-8C6A73955290}" type="presParOf" srcId="{9FBAFB39-655F-4EE6-A83D-5B29E42F3878}" destId="{3DFDD4D8-FA06-40E4-A961-7B1E574D6A00}" srcOrd="6" destOrd="0" presId="urn:microsoft.com/office/officeart/2005/8/layout/orgChart1"/>
    <dgm:cxn modelId="{8BE67189-E48F-4CC8-8DE7-37A9D4D89A02}" type="presParOf" srcId="{9FBAFB39-655F-4EE6-A83D-5B29E42F3878}" destId="{5C9D6942-F339-4FD2-A6C6-5435661A0866}" srcOrd="7" destOrd="0" presId="urn:microsoft.com/office/officeart/2005/8/layout/orgChart1"/>
    <dgm:cxn modelId="{FB066988-0989-4AC9-8196-6D5DE8A06FEE}" type="presParOf" srcId="{5C9D6942-F339-4FD2-A6C6-5435661A0866}" destId="{23FA1448-EA04-4539-88D7-4440EC6A7913}" srcOrd="0" destOrd="0" presId="urn:microsoft.com/office/officeart/2005/8/layout/orgChart1"/>
    <dgm:cxn modelId="{B70BE543-206F-4E70-80A2-B06220B48421}" type="presParOf" srcId="{23FA1448-EA04-4539-88D7-4440EC6A7913}" destId="{6708E2A3-1707-4E77-95A3-64D76FFF8B22}" srcOrd="0" destOrd="0" presId="urn:microsoft.com/office/officeart/2005/8/layout/orgChart1"/>
    <dgm:cxn modelId="{23D75EB9-1205-4994-BB2B-C58F9F49AC67}" type="presParOf" srcId="{23FA1448-EA04-4539-88D7-4440EC6A7913}" destId="{DCEB8949-EA0B-4CB1-9589-B554DD1C1D05}" srcOrd="1" destOrd="0" presId="urn:microsoft.com/office/officeart/2005/8/layout/orgChart1"/>
    <dgm:cxn modelId="{DB409E7E-B7C9-4045-8050-226566464CDD}" type="presParOf" srcId="{5C9D6942-F339-4FD2-A6C6-5435661A0866}" destId="{FCD1EB93-D7CA-48D8-BDCC-7C2A5CC9438A}" srcOrd="1" destOrd="0" presId="urn:microsoft.com/office/officeart/2005/8/layout/orgChart1"/>
    <dgm:cxn modelId="{EB3FD3E3-92F5-4DF9-AD47-52E0C0AB778C}" type="presParOf" srcId="{FCD1EB93-D7CA-48D8-BDCC-7C2A5CC9438A}" destId="{FAEBE53A-006B-46A6-AC92-EC7EF28B2A62}" srcOrd="0" destOrd="0" presId="urn:microsoft.com/office/officeart/2005/8/layout/orgChart1"/>
    <dgm:cxn modelId="{DF49845F-33AC-4695-ACEA-EC2A088C872F}" type="presParOf" srcId="{FCD1EB93-D7CA-48D8-BDCC-7C2A5CC9438A}" destId="{29C4EC9E-9E49-41E2-AE16-E362C8E3D3FD}" srcOrd="1" destOrd="0" presId="urn:microsoft.com/office/officeart/2005/8/layout/orgChart1"/>
    <dgm:cxn modelId="{6DCFEB98-2827-4658-900A-741FCA007763}" type="presParOf" srcId="{29C4EC9E-9E49-41E2-AE16-E362C8E3D3FD}" destId="{03FAD6C7-029D-45C5-A6C1-1AEAE63E7AAA}" srcOrd="0" destOrd="0" presId="urn:microsoft.com/office/officeart/2005/8/layout/orgChart1"/>
    <dgm:cxn modelId="{A3AA575D-78BE-4E1F-95BC-F1325937A8AC}" type="presParOf" srcId="{03FAD6C7-029D-45C5-A6C1-1AEAE63E7AAA}" destId="{F85ECD57-8197-46CE-B189-89A7A65AB38F}" srcOrd="0" destOrd="0" presId="urn:microsoft.com/office/officeart/2005/8/layout/orgChart1"/>
    <dgm:cxn modelId="{C10037EB-6954-4EF6-8887-E45EB77FE955}" type="presParOf" srcId="{03FAD6C7-029D-45C5-A6C1-1AEAE63E7AAA}" destId="{0FB9A607-2F48-4486-AFE7-70DCC0DB3EF7}" srcOrd="1" destOrd="0" presId="urn:microsoft.com/office/officeart/2005/8/layout/orgChart1"/>
    <dgm:cxn modelId="{2FC2BA05-407C-4D05-BCD9-E71F6149D6DC}" type="presParOf" srcId="{29C4EC9E-9E49-41E2-AE16-E362C8E3D3FD}" destId="{36249021-CE49-4454-A6C8-C06D1DA015E7}" srcOrd="1" destOrd="0" presId="urn:microsoft.com/office/officeart/2005/8/layout/orgChart1"/>
    <dgm:cxn modelId="{D0C4705A-C495-4F68-94F6-51E35005E534}" type="presParOf" srcId="{29C4EC9E-9E49-41E2-AE16-E362C8E3D3FD}" destId="{7EF6B234-0348-455C-B777-CD852D2E079C}" srcOrd="2" destOrd="0" presId="urn:microsoft.com/office/officeart/2005/8/layout/orgChart1"/>
    <dgm:cxn modelId="{F2F21984-C308-44E0-A7FA-ED3D20EAE55F}" type="presParOf" srcId="{FCD1EB93-D7CA-48D8-BDCC-7C2A5CC9438A}" destId="{CCA95D2F-E869-487B-97FB-0A4038FB590A}" srcOrd="2" destOrd="0" presId="urn:microsoft.com/office/officeart/2005/8/layout/orgChart1"/>
    <dgm:cxn modelId="{4E194118-0417-49B0-9252-9B689EDAD8C0}" type="presParOf" srcId="{FCD1EB93-D7CA-48D8-BDCC-7C2A5CC9438A}" destId="{FFF09DE4-3DFB-4CB5-ACD9-AE2471A96512}" srcOrd="3" destOrd="0" presId="urn:microsoft.com/office/officeart/2005/8/layout/orgChart1"/>
    <dgm:cxn modelId="{09A8F3F8-A5A9-45E5-B256-5BBBFD5D1BAA}" type="presParOf" srcId="{FFF09DE4-3DFB-4CB5-ACD9-AE2471A96512}" destId="{9A8102BF-11ED-43B3-88A6-FFCC59F2ED7D}" srcOrd="0" destOrd="0" presId="urn:microsoft.com/office/officeart/2005/8/layout/orgChart1"/>
    <dgm:cxn modelId="{32A0CF28-BE13-4B10-B127-A5527496B277}" type="presParOf" srcId="{9A8102BF-11ED-43B3-88A6-FFCC59F2ED7D}" destId="{6B165EE7-58FD-4E75-BBC2-DA2C78D999C8}" srcOrd="0" destOrd="0" presId="urn:microsoft.com/office/officeart/2005/8/layout/orgChart1"/>
    <dgm:cxn modelId="{44445FE0-46F0-4597-B451-396A5DF99791}" type="presParOf" srcId="{9A8102BF-11ED-43B3-88A6-FFCC59F2ED7D}" destId="{FBD0912A-3991-4439-88F1-6C01435C713D}" srcOrd="1" destOrd="0" presId="urn:microsoft.com/office/officeart/2005/8/layout/orgChart1"/>
    <dgm:cxn modelId="{FDE3B232-1873-440F-A89C-9CEBFA6DFD54}" type="presParOf" srcId="{FFF09DE4-3DFB-4CB5-ACD9-AE2471A96512}" destId="{9BF655C9-F26D-49E7-A902-880BD62570CA}" srcOrd="1" destOrd="0" presId="urn:microsoft.com/office/officeart/2005/8/layout/orgChart1"/>
    <dgm:cxn modelId="{E015D172-0899-45E2-98E5-49A8C34CDBDB}" type="presParOf" srcId="{FFF09DE4-3DFB-4CB5-ACD9-AE2471A96512}" destId="{FAFC3371-B2D7-4759-BF26-C8E5F964168C}" srcOrd="2" destOrd="0" presId="urn:microsoft.com/office/officeart/2005/8/layout/orgChart1"/>
    <dgm:cxn modelId="{A8980A64-E767-45C5-874B-46B033F9ADD4}" type="presParOf" srcId="{5C9D6942-F339-4FD2-A6C6-5435661A0866}" destId="{E5145F36-0B3F-4493-A4F0-5E37F38A9555}" srcOrd="2" destOrd="0" presId="urn:microsoft.com/office/officeart/2005/8/layout/orgChart1"/>
    <dgm:cxn modelId="{108ECC1C-4B0F-4F5F-8D82-C744C6D9969D}" type="presParOf" srcId="{9FBAFB39-655F-4EE6-A83D-5B29E42F3878}" destId="{50B9202D-76FE-481F-A1BA-DD5F66E293BA}" srcOrd="8" destOrd="0" presId="urn:microsoft.com/office/officeart/2005/8/layout/orgChart1"/>
    <dgm:cxn modelId="{2A8F458C-7193-4898-B1FD-50D4116AFCFC}" type="presParOf" srcId="{9FBAFB39-655F-4EE6-A83D-5B29E42F3878}" destId="{EE71A022-B4F3-4A07-AB00-9C5E9BF6BD91}" srcOrd="9" destOrd="0" presId="urn:microsoft.com/office/officeart/2005/8/layout/orgChart1"/>
    <dgm:cxn modelId="{A807244F-FDB4-40B0-87A1-EA92151C01CD}" type="presParOf" srcId="{EE71A022-B4F3-4A07-AB00-9C5E9BF6BD91}" destId="{6338662F-0CE2-4854-B6FE-E2EE6F8F21EF}" srcOrd="0" destOrd="0" presId="urn:microsoft.com/office/officeart/2005/8/layout/orgChart1"/>
    <dgm:cxn modelId="{0D957C30-548E-42CF-A08D-1883A8983BD6}" type="presParOf" srcId="{6338662F-0CE2-4854-B6FE-E2EE6F8F21EF}" destId="{68515D6E-BBCF-452C-966C-21EDECA0AFF3}" srcOrd="0" destOrd="0" presId="urn:microsoft.com/office/officeart/2005/8/layout/orgChart1"/>
    <dgm:cxn modelId="{7BC8214C-DE64-4B24-A8CE-09C18507207E}" type="presParOf" srcId="{6338662F-0CE2-4854-B6FE-E2EE6F8F21EF}" destId="{0E1968E2-AA50-42AD-B62D-7CEDC56152B8}" srcOrd="1" destOrd="0" presId="urn:microsoft.com/office/officeart/2005/8/layout/orgChart1"/>
    <dgm:cxn modelId="{6BDF09C8-5B47-44C5-9EB1-B5F84BEB8418}" type="presParOf" srcId="{EE71A022-B4F3-4A07-AB00-9C5E9BF6BD91}" destId="{089E2663-C5EC-4A29-8299-A26EB80B941F}" srcOrd="1" destOrd="0" presId="urn:microsoft.com/office/officeart/2005/8/layout/orgChart1"/>
    <dgm:cxn modelId="{124A57E2-ED81-4DAA-9B2D-80337EB78490}" type="presParOf" srcId="{EE71A022-B4F3-4A07-AB00-9C5E9BF6BD91}" destId="{85AB8400-4BB3-4058-8866-2C63C824DB37}" srcOrd="2" destOrd="0" presId="urn:microsoft.com/office/officeart/2005/8/layout/orgChart1"/>
    <dgm:cxn modelId="{6936D133-7CEB-4E4E-9040-15F5935F2D91}" type="presParOf" srcId="{E4874F88-4D87-4588-BEF7-8898E4279D9A}" destId="{C8307988-3A93-4014-B81C-93C5A3867044}" srcOrd="2" destOrd="0" presId="urn:microsoft.com/office/officeart/2005/8/layout/orgChart1"/>
  </dgm:cxnLst>
  <dgm:bg>
    <a:noFill/>
  </dgm:bg>
  <dgm:whole>
    <a:ln>
      <a:noFill/>
    </a:ln>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0B9202D-76FE-481F-A1BA-DD5F66E293BA}">
      <dsp:nvSpPr>
        <dsp:cNvPr id="0" name=""/>
        <dsp:cNvSpPr/>
      </dsp:nvSpPr>
      <dsp:spPr>
        <a:xfrm>
          <a:off x="4406548" y="682774"/>
          <a:ext cx="3466418" cy="459481"/>
        </a:xfrm>
        <a:custGeom>
          <a:avLst/>
          <a:gdLst/>
          <a:ahLst/>
          <a:cxnLst/>
          <a:rect l="0" t="0" r="0" b="0"/>
          <a:pathLst>
            <a:path>
              <a:moveTo>
                <a:pt x="0" y="0"/>
              </a:moveTo>
              <a:lnTo>
                <a:pt x="0" y="317614"/>
              </a:lnTo>
              <a:lnTo>
                <a:pt x="3466418" y="317614"/>
              </a:lnTo>
              <a:lnTo>
                <a:pt x="3466418" y="459481"/>
              </a:lnTo>
            </a:path>
          </a:pathLst>
        </a:custGeom>
        <a:noFill/>
        <a:ln w="25400" cap="flat" cmpd="sng" algn="ctr">
          <a:solidFill>
            <a:scrgbClr r="0" g="0" b="0"/>
          </a:solidFill>
          <a:prstDash val="dash"/>
        </a:ln>
        <a:effectLst/>
      </dsp:spPr>
      <dsp:style>
        <a:lnRef idx="2">
          <a:scrgbClr r="0" g="0" b="0"/>
        </a:lnRef>
        <a:fillRef idx="0">
          <a:scrgbClr r="0" g="0" b="0"/>
        </a:fillRef>
        <a:effectRef idx="0">
          <a:scrgbClr r="0" g="0" b="0"/>
        </a:effectRef>
        <a:fontRef idx="minor"/>
      </dsp:style>
    </dsp:sp>
    <dsp:sp modelId="{CCA95D2F-E869-487B-97FB-0A4038FB590A}">
      <dsp:nvSpPr>
        <dsp:cNvPr id="0" name=""/>
        <dsp:cNvSpPr/>
      </dsp:nvSpPr>
      <dsp:spPr>
        <a:xfrm>
          <a:off x="5696717" y="1823707"/>
          <a:ext cx="137332" cy="645544"/>
        </a:xfrm>
        <a:custGeom>
          <a:avLst/>
          <a:gdLst/>
          <a:ahLst/>
          <a:cxnLst/>
          <a:rect l="0" t="0" r="0" b="0"/>
          <a:pathLst>
            <a:path>
              <a:moveTo>
                <a:pt x="0" y="0"/>
              </a:moveTo>
              <a:lnTo>
                <a:pt x="0" y="645544"/>
              </a:lnTo>
              <a:lnTo>
                <a:pt x="137332" y="645544"/>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FAEBE53A-006B-46A6-AC92-EC7EF28B2A62}">
      <dsp:nvSpPr>
        <dsp:cNvPr id="0" name=""/>
        <dsp:cNvSpPr/>
      </dsp:nvSpPr>
      <dsp:spPr>
        <a:xfrm>
          <a:off x="5696717" y="1823707"/>
          <a:ext cx="305128" cy="1971347"/>
        </a:xfrm>
        <a:custGeom>
          <a:avLst/>
          <a:gdLst/>
          <a:ahLst/>
          <a:cxnLst/>
          <a:rect l="0" t="0" r="0" b="0"/>
          <a:pathLst>
            <a:path>
              <a:moveTo>
                <a:pt x="0" y="0"/>
              </a:moveTo>
              <a:lnTo>
                <a:pt x="0" y="1971347"/>
              </a:lnTo>
              <a:lnTo>
                <a:pt x="305128" y="1971347"/>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3DFDD4D8-FA06-40E4-A961-7B1E574D6A00}">
      <dsp:nvSpPr>
        <dsp:cNvPr id="0" name=""/>
        <dsp:cNvSpPr/>
      </dsp:nvSpPr>
      <dsp:spPr>
        <a:xfrm>
          <a:off x="4406548" y="682774"/>
          <a:ext cx="1902328" cy="465372"/>
        </a:xfrm>
        <a:custGeom>
          <a:avLst/>
          <a:gdLst/>
          <a:ahLst/>
          <a:cxnLst/>
          <a:rect l="0" t="0" r="0" b="0"/>
          <a:pathLst>
            <a:path>
              <a:moveTo>
                <a:pt x="0" y="0"/>
              </a:moveTo>
              <a:lnTo>
                <a:pt x="0" y="323505"/>
              </a:lnTo>
              <a:lnTo>
                <a:pt x="1902328" y="323505"/>
              </a:lnTo>
              <a:lnTo>
                <a:pt x="1902328" y="465372"/>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84169ACC-03CE-4C3B-B13B-4ACA2097A1B1}">
      <dsp:nvSpPr>
        <dsp:cNvPr id="0" name=""/>
        <dsp:cNvSpPr/>
      </dsp:nvSpPr>
      <dsp:spPr>
        <a:xfrm>
          <a:off x="3773971" y="1823707"/>
          <a:ext cx="91440" cy="619724"/>
        </a:xfrm>
        <a:custGeom>
          <a:avLst/>
          <a:gdLst/>
          <a:ahLst/>
          <a:cxnLst/>
          <a:rect l="0" t="0" r="0" b="0"/>
          <a:pathLst>
            <a:path>
              <a:moveTo>
                <a:pt x="45720" y="0"/>
              </a:moveTo>
              <a:lnTo>
                <a:pt x="45720" y="619724"/>
              </a:lnTo>
              <a:lnTo>
                <a:pt x="101320" y="619724"/>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9ADF5D58-2A9B-428E-BFF7-1DD3B7DFA732}">
      <dsp:nvSpPr>
        <dsp:cNvPr id="0" name=""/>
        <dsp:cNvSpPr/>
      </dsp:nvSpPr>
      <dsp:spPr>
        <a:xfrm>
          <a:off x="3773971" y="1823707"/>
          <a:ext cx="91440" cy="2020423"/>
        </a:xfrm>
        <a:custGeom>
          <a:avLst/>
          <a:gdLst/>
          <a:ahLst/>
          <a:cxnLst/>
          <a:rect l="0" t="0" r="0" b="0"/>
          <a:pathLst>
            <a:path>
              <a:moveTo>
                <a:pt x="45720" y="0"/>
              </a:moveTo>
              <a:lnTo>
                <a:pt x="45720" y="2020423"/>
              </a:lnTo>
              <a:lnTo>
                <a:pt x="125573" y="2020423"/>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79A1C0EF-2A7A-46A9-B764-9B32F8CE1E32}">
      <dsp:nvSpPr>
        <dsp:cNvPr id="0" name=""/>
        <dsp:cNvSpPr/>
      </dsp:nvSpPr>
      <dsp:spPr>
        <a:xfrm>
          <a:off x="4360828" y="682774"/>
          <a:ext cx="91440" cy="465372"/>
        </a:xfrm>
        <a:custGeom>
          <a:avLst/>
          <a:gdLst/>
          <a:ahLst/>
          <a:cxnLst/>
          <a:rect l="0" t="0" r="0" b="0"/>
          <a:pathLst>
            <a:path>
              <a:moveTo>
                <a:pt x="45720" y="0"/>
              </a:moveTo>
              <a:lnTo>
                <a:pt x="45720" y="323505"/>
              </a:lnTo>
              <a:lnTo>
                <a:pt x="98974" y="323505"/>
              </a:lnTo>
              <a:lnTo>
                <a:pt x="98974" y="465372"/>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2A7C331B-632B-4890-94BA-0799E54A6572}">
      <dsp:nvSpPr>
        <dsp:cNvPr id="0" name=""/>
        <dsp:cNvSpPr/>
      </dsp:nvSpPr>
      <dsp:spPr>
        <a:xfrm>
          <a:off x="1912353" y="1814641"/>
          <a:ext cx="95630" cy="596404"/>
        </a:xfrm>
        <a:custGeom>
          <a:avLst/>
          <a:gdLst/>
          <a:ahLst/>
          <a:cxnLst/>
          <a:rect l="0" t="0" r="0" b="0"/>
          <a:pathLst>
            <a:path>
              <a:moveTo>
                <a:pt x="0" y="0"/>
              </a:moveTo>
              <a:lnTo>
                <a:pt x="0" y="596404"/>
              </a:lnTo>
              <a:lnTo>
                <a:pt x="95630" y="596404"/>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8440273B-540C-46FC-8877-9CDA9BEA4C39}">
      <dsp:nvSpPr>
        <dsp:cNvPr id="0" name=""/>
        <dsp:cNvSpPr/>
      </dsp:nvSpPr>
      <dsp:spPr>
        <a:xfrm>
          <a:off x="1912353" y="1814641"/>
          <a:ext cx="194397" cy="2049857"/>
        </a:xfrm>
        <a:custGeom>
          <a:avLst/>
          <a:gdLst/>
          <a:ahLst/>
          <a:cxnLst/>
          <a:rect l="0" t="0" r="0" b="0"/>
          <a:pathLst>
            <a:path>
              <a:moveTo>
                <a:pt x="0" y="0"/>
              </a:moveTo>
              <a:lnTo>
                <a:pt x="0" y="2049857"/>
              </a:lnTo>
              <a:lnTo>
                <a:pt x="194397" y="2049857"/>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01A2D364-F553-4626-8857-FEB6F95EEBF4}">
      <dsp:nvSpPr>
        <dsp:cNvPr id="0" name=""/>
        <dsp:cNvSpPr/>
      </dsp:nvSpPr>
      <dsp:spPr>
        <a:xfrm>
          <a:off x="2562831" y="682774"/>
          <a:ext cx="1843717" cy="456306"/>
        </a:xfrm>
        <a:custGeom>
          <a:avLst/>
          <a:gdLst/>
          <a:ahLst/>
          <a:cxnLst/>
          <a:rect l="0" t="0" r="0" b="0"/>
          <a:pathLst>
            <a:path>
              <a:moveTo>
                <a:pt x="1843717" y="0"/>
              </a:moveTo>
              <a:lnTo>
                <a:pt x="1843717" y="314439"/>
              </a:lnTo>
              <a:lnTo>
                <a:pt x="0" y="314439"/>
              </a:lnTo>
              <a:lnTo>
                <a:pt x="0" y="456306"/>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6583E6A3-9E26-4B6C-88FC-10BE341055DE}">
      <dsp:nvSpPr>
        <dsp:cNvPr id="0" name=""/>
        <dsp:cNvSpPr/>
      </dsp:nvSpPr>
      <dsp:spPr>
        <a:xfrm>
          <a:off x="734036" y="682774"/>
          <a:ext cx="3672511" cy="465372"/>
        </a:xfrm>
        <a:custGeom>
          <a:avLst/>
          <a:gdLst/>
          <a:ahLst/>
          <a:cxnLst/>
          <a:rect l="0" t="0" r="0" b="0"/>
          <a:pathLst>
            <a:path>
              <a:moveTo>
                <a:pt x="3672511" y="0"/>
              </a:moveTo>
              <a:lnTo>
                <a:pt x="3672511" y="323505"/>
              </a:lnTo>
              <a:lnTo>
                <a:pt x="0" y="323505"/>
              </a:lnTo>
              <a:lnTo>
                <a:pt x="0" y="465372"/>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07682C41-9F4F-4424-8BA2-3DCA469121F8}">
      <dsp:nvSpPr>
        <dsp:cNvPr id="0" name=""/>
        <dsp:cNvSpPr/>
      </dsp:nvSpPr>
      <dsp:spPr>
        <a:xfrm>
          <a:off x="3730988" y="7214"/>
          <a:ext cx="1351119" cy="675559"/>
        </a:xfrm>
        <a:prstGeom prst="rect">
          <a:avLst/>
        </a:prstGeom>
        <a:solidFill>
          <a:srgbClr val="0070C0"/>
        </a:solidFill>
        <a:ln w="25400" cap="flat" cmpd="sng" algn="ctr">
          <a:solidFill>
            <a:schemeClr val="tx2">
              <a:lumMod val="60000"/>
              <a:lumOff val="4000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715" tIns="5715" rIns="5715" bIns="5715" numCol="1" spcCol="1270" anchor="ctr" anchorCtr="0">
          <a:noAutofit/>
        </a:bodyPr>
        <a:lstStyle/>
        <a:p>
          <a:pPr marL="0" lvl="0" indent="0" algn="ctr" defTabSz="400050">
            <a:lnSpc>
              <a:spcPct val="90000"/>
            </a:lnSpc>
            <a:spcBef>
              <a:spcPct val="0"/>
            </a:spcBef>
            <a:spcAft>
              <a:spcPct val="35000"/>
            </a:spcAft>
            <a:buNone/>
          </a:pPr>
          <a:r>
            <a:rPr lang="en-US" sz="900" kern="1200" dirty="0"/>
            <a:t>Wiremu Tamaki</a:t>
          </a:r>
          <a:br>
            <a:rPr lang="en-US" sz="900" kern="1200" dirty="0"/>
          </a:br>
          <a:r>
            <a:rPr lang="en-US" sz="900" kern="1200" dirty="0"/>
            <a:t>SNZ Umpire In Chief</a:t>
          </a:r>
          <a:br>
            <a:rPr lang="en-US" sz="900" kern="1200" dirty="0"/>
          </a:br>
          <a:r>
            <a:rPr lang="en-US" sz="900" kern="1200" dirty="0"/>
            <a:t>(UIC)</a:t>
          </a:r>
          <a:endParaRPr lang="en-NZ" sz="900" kern="1200" dirty="0"/>
        </a:p>
      </dsp:txBody>
      <dsp:txXfrm>
        <a:off x="3730988" y="7214"/>
        <a:ext cx="1351119" cy="675559"/>
      </dsp:txXfrm>
    </dsp:sp>
    <dsp:sp modelId="{32457FB0-5E88-4831-9909-8939DFFDAF1E}">
      <dsp:nvSpPr>
        <dsp:cNvPr id="0" name=""/>
        <dsp:cNvSpPr/>
      </dsp:nvSpPr>
      <dsp:spPr>
        <a:xfrm>
          <a:off x="2074" y="1148147"/>
          <a:ext cx="1463924" cy="935508"/>
        </a:xfrm>
        <a:prstGeom prst="rect">
          <a:avLst/>
        </a:prstGeom>
        <a:solidFill>
          <a:srgbClr val="92D050"/>
        </a:solidFill>
        <a:ln w="25400" cap="flat" cmpd="sng" algn="ctr">
          <a:solidFill>
            <a:schemeClr val="tx2">
              <a:lumMod val="60000"/>
              <a:lumOff val="4000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715" tIns="5715" rIns="5715" bIns="5715" numCol="1" spcCol="1270" anchor="ctr" anchorCtr="0">
          <a:noAutofit/>
        </a:bodyPr>
        <a:lstStyle/>
        <a:p>
          <a:pPr marL="0" lvl="0" indent="0" algn="ctr" defTabSz="400050">
            <a:lnSpc>
              <a:spcPct val="90000"/>
            </a:lnSpc>
            <a:spcBef>
              <a:spcPct val="0"/>
            </a:spcBef>
            <a:spcAft>
              <a:spcPct val="35000"/>
            </a:spcAft>
            <a:buNone/>
          </a:pPr>
          <a:r>
            <a:rPr lang="en-US" sz="900" kern="1200" dirty="0"/>
            <a:t>Lindsay Edwards</a:t>
          </a:r>
          <a:br>
            <a:rPr lang="en-US" sz="900" kern="1200" dirty="0"/>
          </a:br>
          <a:r>
            <a:rPr lang="en-US" sz="900" kern="1200" dirty="0"/>
            <a:t>Deputy Director of Umpiring (DDU)</a:t>
          </a:r>
        </a:p>
      </dsp:txBody>
      <dsp:txXfrm>
        <a:off x="2074" y="1148147"/>
        <a:ext cx="1463924" cy="935508"/>
      </dsp:txXfrm>
    </dsp:sp>
    <dsp:sp modelId="{3A5726E2-EB72-44C6-B2EF-0DC37C6EBC2D}">
      <dsp:nvSpPr>
        <dsp:cNvPr id="0" name=""/>
        <dsp:cNvSpPr/>
      </dsp:nvSpPr>
      <dsp:spPr>
        <a:xfrm>
          <a:off x="1749734" y="1139081"/>
          <a:ext cx="1626193" cy="675559"/>
        </a:xfrm>
        <a:prstGeom prst="rect">
          <a:avLst/>
        </a:prstGeom>
        <a:solidFill>
          <a:srgbClr val="0070C0"/>
        </a:solidFill>
        <a:ln w="25400" cap="flat" cmpd="sng" algn="ctr">
          <a:solidFill>
            <a:schemeClr val="tx2">
              <a:lumMod val="60000"/>
              <a:lumOff val="4000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715" tIns="5715" rIns="5715" bIns="5715" numCol="1" spcCol="1270" anchor="ctr" anchorCtr="0">
          <a:noAutofit/>
        </a:bodyPr>
        <a:lstStyle/>
        <a:p>
          <a:pPr marL="0" lvl="0" indent="0" algn="ctr" defTabSz="400050">
            <a:lnSpc>
              <a:spcPct val="90000"/>
            </a:lnSpc>
            <a:spcBef>
              <a:spcPct val="0"/>
            </a:spcBef>
            <a:spcAft>
              <a:spcPct val="35000"/>
            </a:spcAft>
            <a:buNone/>
          </a:pPr>
          <a:r>
            <a:rPr lang="en-US" sz="900" kern="1200" dirty="0"/>
            <a:t>Mark Porteous</a:t>
          </a:r>
          <a:br>
            <a:rPr lang="en-US" sz="900" kern="1200" dirty="0"/>
          </a:br>
          <a:r>
            <a:rPr lang="en-US" sz="900" kern="1200" dirty="0"/>
            <a:t>Regional Director of Umpiring</a:t>
          </a:r>
          <a:br>
            <a:rPr lang="en-US" sz="900" kern="1200" dirty="0"/>
          </a:br>
          <a:r>
            <a:rPr lang="en-US" sz="900" kern="1200" dirty="0"/>
            <a:t>Northern (RDUN)</a:t>
          </a:r>
        </a:p>
      </dsp:txBody>
      <dsp:txXfrm>
        <a:off x="1749734" y="1139081"/>
        <a:ext cx="1626193" cy="675559"/>
      </dsp:txXfrm>
    </dsp:sp>
    <dsp:sp modelId="{A43AF624-D113-4F4E-B541-09611DDD458C}">
      <dsp:nvSpPr>
        <dsp:cNvPr id="0" name=""/>
        <dsp:cNvSpPr/>
      </dsp:nvSpPr>
      <dsp:spPr>
        <a:xfrm>
          <a:off x="2106750" y="3100744"/>
          <a:ext cx="1064452" cy="1527508"/>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715" tIns="5715" rIns="5715" bIns="5715" numCol="1" spcCol="1270" anchor="ctr" anchorCtr="0">
          <a:noAutofit/>
        </a:bodyPr>
        <a:lstStyle/>
        <a:p>
          <a:pPr marL="0" lvl="0" indent="0" algn="ctr" defTabSz="400050">
            <a:lnSpc>
              <a:spcPct val="90000"/>
            </a:lnSpc>
            <a:spcBef>
              <a:spcPct val="0"/>
            </a:spcBef>
            <a:spcAft>
              <a:spcPct val="35000"/>
            </a:spcAft>
            <a:buNone/>
          </a:pPr>
          <a:r>
            <a:rPr lang="en-NZ" sz="900" kern="1200"/>
            <a:t>Umpire In Chief </a:t>
          </a:r>
          <a:br>
            <a:rPr lang="en-NZ" sz="900" kern="1200"/>
          </a:br>
          <a:r>
            <a:rPr lang="en-NZ" sz="900" kern="1200"/>
            <a:t>Local Associations:</a:t>
          </a:r>
          <a:br>
            <a:rPr lang="en-NZ" sz="900" kern="1200"/>
          </a:br>
          <a:r>
            <a:rPr lang="en-NZ" sz="900" kern="1200"/>
            <a:t>Northland</a:t>
          </a:r>
          <a:br>
            <a:rPr lang="en-NZ" sz="900" kern="1200"/>
          </a:br>
          <a:r>
            <a:rPr lang="en-NZ" sz="900" kern="1200"/>
            <a:t>North Harbour</a:t>
          </a:r>
          <a:br>
            <a:rPr lang="en-NZ" sz="900" kern="1200"/>
          </a:br>
          <a:r>
            <a:rPr lang="en-NZ" sz="900" kern="1200"/>
            <a:t>Auckland</a:t>
          </a:r>
          <a:br>
            <a:rPr lang="en-NZ" sz="900" kern="1200"/>
          </a:br>
          <a:r>
            <a:rPr lang="en-NZ" sz="900" kern="1200"/>
            <a:t>Counties Manukau</a:t>
          </a:r>
          <a:br>
            <a:rPr lang="en-NZ" sz="900" kern="1200"/>
          </a:br>
          <a:r>
            <a:rPr lang="en-NZ" sz="900" kern="1200"/>
            <a:t>Waikato</a:t>
          </a:r>
          <a:br>
            <a:rPr lang="en-NZ" sz="900" kern="1200"/>
          </a:br>
          <a:r>
            <a:rPr lang="en-NZ" sz="900" kern="1200"/>
            <a:t>Western Bay of Plenty</a:t>
          </a:r>
          <a:br>
            <a:rPr lang="en-NZ" sz="900" kern="1200"/>
          </a:br>
          <a:r>
            <a:rPr lang="en-NZ" sz="900" kern="1200"/>
            <a:t>Rotorua</a:t>
          </a:r>
          <a:br>
            <a:rPr lang="en-NZ" sz="900" kern="1200"/>
          </a:br>
          <a:r>
            <a:rPr lang="en-NZ" sz="900" kern="1200"/>
            <a:t>(7)</a:t>
          </a:r>
        </a:p>
      </dsp:txBody>
      <dsp:txXfrm>
        <a:off x="2106750" y="3100744"/>
        <a:ext cx="1064452" cy="1527508"/>
      </dsp:txXfrm>
    </dsp:sp>
    <dsp:sp modelId="{A81F448A-26D0-434E-9A6F-97A073B50594}">
      <dsp:nvSpPr>
        <dsp:cNvPr id="0" name=""/>
        <dsp:cNvSpPr/>
      </dsp:nvSpPr>
      <dsp:spPr>
        <a:xfrm>
          <a:off x="2007983" y="2073265"/>
          <a:ext cx="1351119" cy="675559"/>
        </a:xfrm>
        <a:prstGeom prst="rect">
          <a:avLst/>
        </a:prstGeom>
        <a:solidFill>
          <a:schemeClr val="accent2"/>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715" tIns="5715" rIns="5715" bIns="5715" numCol="1" spcCol="1270" anchor="ctr" anchorCtr="0">
          <a:noAutofit/>
        </a:bodyPr>
        <a:lstStyle/>
        <a:p>
          <a:pPr marL="0" lvl="0" indent="0" algn="ctr" defTabSz="400050">
            <a:lnSpc>
              <a:spcPct val="90000"/>
            </a:lnSpc>
            <a:spcBef>
              <a:spcPct val="0"/>
            </a:spcBef>
            <a:spcAft>
              <a:spcPct val="35000"/>
            </a:spcAft>
            <a:buNone/>
          </a:pPr>
          <a:r>
            <a:rPr lang="en-NZ" sz="900" kern="1200"/>
            <a:t>Kevin Gorman</a:t>
          </a:r>
          <a:br>
            <a:rPr lang="en-NZ" sz="900" kern="1200"/>
          </a:br>
          <a:r>
            <a:rPr lang="en-NZ" sz="900" kern="1200"/>
            <a:t>Assistant Regional Director </a:t>
          </a:r>
          <a:br>
            <a:rPr lang="en-NZ" sz="900" kern="1200"/>
          </a:br>
          <a:r>
            <a:rPr lang="en-NZ" sz="900" kern="1200"/>
            <a:t>of Umpiring</a:t>
          </a:r>
          <a:br>
            <a:rPr lang="en-NZ" sz="900" kern="1200"/>
          </a:br>
          <a:r>
            <a:rPr lang="en-NZ" sz="900" kern="1200"/>
            <a:t>(ARDU)</a:t>
          </a:r>
        </a:p>
      </dsp:txBody>
      <dsp:txXfrm>
        <a:off x="2007983" y="2073265"/>
        <a:ext cx="1351119" cy="675559"/>
      </dsp:txXfrm>
    </dsp:sp>
    <dsp:sp modelId="{A5E0EA24-A4CC-4DF2-9B13-2ABA685F3868}">
      <dsp:nvSpPr>
        <dsp:cNvPr id="0" name=""/>
        <dsp:cNvSpPr/>
      </dsp:nvSpPr>
      <dsp:spPr>
        <a:xfrm>
          <a:off x="3659663" y="1148147"/>
          <a:ext cx="1600279" cy="675559"/>
        </a:xfrm>
        <a:prstGeom prst="rect">
          <a:avLst/>
        </a:prstGeom>
        <a:solidFill>
          <a:srgbClr val="0070C0"/>
        </a:solidFill>
        <a:ln w="25400" cap="flat" cmpd="sng" algn="ctr">
          <a:solidFill>
            <a:schemeClr val="tx2">
              <a:lumMod val="60000"/>
              <a:lumOff val="4000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715" tIns="5715" rIns="5715" bIns="5715" numCol="1" spcCol="1270" anchor="ctr" anchorCtr="0">
          <a:noAutofit/>
        </a:bodyPr>
        <a:lstStyle/>
        <a:p>
          <a:pPr marL="0" lvl="0" indent="0" algn="ctr" defTabSz="400050">
            <a:lnSpc>
              <a:spcPct val="90000"/>
            </a:lnSpc>
            <a:spcBef>
              <a:spcPct val="0"/>
            </a:spcBef>
            <a:spcAft>
              <a:spcPct val="35000"/>
            </a:spcAft>
            <a:buNone/>
          </a:pPr>
          <a:r>
            <a:rPr lang="en-US" sz="900" kern="1200" dirty="0"/>
            <a:t>Jeremy England</a:t>
          </a:r>
          <a:br>
            <a:rPr lang="en-US" sz="900" kern="1200" dirty="0"/>
          </a:br>
          <a:r>
            <a:rPr lang="en-US" sz="900" kern="1200" dirty="0"/>
            <a:t>Regional Director of Umpiring</a:t>
          </a:r>
          <a:br>
            <a:rPr lang="en-US" sz="900" kern="1200" dirty="0"/>
          </a:br>
          <a:r>
            <a:rPr lang="en-US" sz="900" kern="1200" dirty="0"/>
            <a:t>Central  (RDUC)</a:t>
          </a:r>
          <a:endParaRPr lang="en-NZ" sz="900" kern="1200" dirty="0"/>
        </a:p>
      </dsp:txBody>
      <dsp:txXfrm>
        <a:off x="3659663" y="1148147"/>
        <a:ext cx="1600279" cy="675559"/>
      </dsp:txXfrm>
    </dsp:sp>
    <dsp:sp modelId="{DE9DF21E-BECD-4EF4-AA79-1BF15D87AB5C}">
      <dsp:nvSpPr>
        <dsp:cNvPr id="0" name=""/>
        <dsp:cNvSpPr/>
      </dsp:nvSpPr>
      <dsp:spPr>
        <a:xfrm>
          <a:off x="3899544" y="3122315"/>
          <a:ext cx="1155423" cy="1443630"/>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715" tIns="5715" rIns="5715" bIns="5715" numCol="1" spcCol="1270" anchor="ctr" anchorCtr="0">
          <a:noAutofit/>
        </a:bodyPr>
        <a:lstStyle/>
        <a:p>
          <a:pPr marL="0" lvl="0" indent="0" algn="ctr" defTabSz="400050">
            <a:lnSpc>
              <a:spcPct val="90000"/>
            </a:lnSpc>
            <a:spcBef>
              <a:spcPct val="0"/>
            </a:spcBef>
            <a:spcAft>
              <a:spcPct val="35000"/>
            </a:spcAft>
            <a:buNone/>
          </a:pPr>
          <a:r>
            <a:rPr lang="en-NZ" sz="900" kern="1200"/>
            <a:t>Umpire In Chief </a:t>
          </a:r>
          <a:br>
            <a:rPr lang="en-NZ" sz="900" kern="1200"/>
          </a:br>
          <a:r>
            <a:rPr lang="en-NZ" sz="900" kern="1200"/>
            <a:t>Local Associations:</a:t>
          </a:r>
          <a:br>
            <a:rPr lang="en-NZ" sz="900" kern="1200"/>
          </a:br>
          <a:r>
            <a:rPr lang="en-NZ" sz="900" kern="1200"/>
            <a:t>Tairawhiti</a:t>
          </a:r>
          <a:br>
            <a:rPr lang="en-NZ" sz="900" kern="1200"/>
          </a:br>
          <a:r>
            <a:rPr lang="en-NZ" sz="900" kern="1200"/>
            <a:t>Hawkes Bay</a:t>
          </a:r>
          <a:br>
            <a:rPr lang="en-NZ" sz="900" kern="1200"/>
          </a:br>
          <a:r>
            <a:rPr lang="en-NZ" sz="900" kern="1200"/>
            <a:t>Manawatu</a:t>
          </a:r>
          <a:br>
            <a:rPr lang="en-NZ" sz="900" kern="1200"/>
          </a:br>
          <a:r>
            <a:rPr lang="en-NZ" sz="900" kern="1200"/>
            <a:t>Taranaki</a:t>
          </a:r>
          <a:br>
            <a:rPr lang="en-NZ" sz="900" kern="1200"/>
          </a:br>
          <a:r>
            <a:rPr lang="en-NZ" sz="900" kern="1200"/>
            <a:t>Wanganui</a:t>
          </a:r>
          <a:br>
            <a:rPr lang="en-NZ" sz="900" kern="1200"/>
          </a:br>
          <a:r>
            <a:rPr lang="en-NZ" sz="900" kern="1200"/>
            <a:t>Hutt Valley</a:t>
          </a:r>
          <a:br>
            <a:rPr lang="en-NZ" sz="900" kern="1200"/>
          </a:br>
          <a:r>
            <a:rPr lang="en-NZ" sz="900" kern="1200"/>
            <a:t>Wellington</a:t>
          </a:r>
          <a:br>
            <a:rPr lang="en-NZ" sz="900" kern="1200"/>
          </a:br>
          <a:r>
            <a:rPr lang="en-NZ" sz="900" kern="1200"/>
            <a:t>(7)</a:t>
          </a:r>
        </a:p>
      </dsp:txBody>
      <dsp:txXfrm>
        <a:off x="3899544" y="3122315"/>
        <a:ext cx="1155423" cy="1443630"/>
      </dsp:txXfrm>
    </dsp:sp>
    <dsp:sp modelId="{1F785A9B-205B-4924-9591-4AE4FCC2034F}">
      <dsp:nvSpPr>
        <dsp:cNvPr id="0" name=""/>
        <dsp:cNvSpPr/>
      </dsp:nvSpPr>
      <dsp:spPr>
        <a:xfrm>
          <a:off x="3875291" y="2105652"/>
          <a:ext cx="1351119" cy="675559"/>
        </a:xfrm>
        <a:prstGeom prst="rect">
          <a:avLst/>
        </a:prstGeom>
        <a:solidFill>
          <a:schemeClr val="accent2"/>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715" tIns="5715" rIns="5715" bIns="5715" numCol="1" spcCol="1270" anchor="ctr" anchorCtr="0">
          <a:noAutofit/>
        </a:bodyPr>
        <a:lstStyle/>
        <a:p>
          <a:pPr marL="0" lvl="0" indent="0" algn="ctr" defTabSz="400050">
            <a:lnSpc>
              <a:spcPct val="90000"/>
            </a:lnSpc>
            <a:spcBef>
              <a:spcPct val="0"/>
            </a:spcBef>
            <a:spcAft>
              <a:spcPct val="35000"/>
            </a:spcAft>
            <a:buNone/>
          </a:pPr>
          <a:r>
            <a:rPr lang="en-NZ" sz="900" kern="1200"/>
            <a:t>Gavin Shepherd</a:t>
          </a:r>
          <a:br>
            <a:rPr lang="en-NZ" sz="900" kern="1200"/>
          </a:br>
          <a:r>
            <a:rPr lang="en-NZ" sz="900" kern="1200"/>
            <a:t>Assistant Regional Director </a:t>
          </a:r>
          <a:br>
            <a:rPr lang="en-NZ" sz="900" kern="1200"/>
          </a:br>
          <a:r>
            <a:rPr lang="en-NZ" sz="900" kern="1200"/>
            <a:t>of Umpiring</a:t>
          </a:r>
          <a:br>
            <a:rPr lang="en-NZ" sz="900" kern="1200"/>
          </a:br>
          <a:r>
            <a:rPr lang="en-NZ" sz="900" kern="1200"/>
            <a:t>(ARDU)</a:t>
          </a:r>
        </a:p>
      </dsp:txBody>
      <dsp:txXfrm>
        <a:off x="3875291" y="2105652"/>
        <a:ext cx="1351119" cy="675559"/>
      </dsp:txXfrm>
    </dsp:sp>
    <dsp:sp modelId="{6708E2A3-1707-4E77-95A3-64D76FFF8B22}">
      <dsp:nvSpPr>
        <dsp:cNvPr id="0" name=""/>
        <dsp:cNvSpPr/>
      </dsp:nvSpPr>
      <dsp:spPr>
        <a:xfrm>
          <a:off x="5543677" y="1148147"/>
          <a:ext cx="1530399" cy="675559"/>
        </a:xfrm>
        <a:prstGeom prst="rect">
          <a:avLst/>
        </a:prstGeom>
        <a:solidFill>
          <a:srgbClr val="0070C0"/>
        </a:solidFill>
        <a:ln w="25400" cap="flat" cmpd="sng" algn="ctr">
          <a:solidFill>
            <a:schemeClr val="tx2">
              <a:lumMod val="60000"/>
              <a:lumOff val="4000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715" tIns="5715" rIns="5715" bIns="5715" numCol="1" spcCol="1270" anchor="ctr" anchorCtr="0">
          <a:noAutofit/>
        </a:bodyPr>
        <a:lstStyle/>
        <a:p>
          <a:pPr marL="0" lvl="0" indent="0" algn="ctr" defTabSz="400050">
            <a:lnSpc>
              <a:spcPct val="90000"/>
            </a:lnSpc>
            <a:spcBef>
              <a:spcPct val="0"/>
            </a:spcBef>
            <a:spcAft>
              <a:spcPct val="35000"/>
            </a:spcAft>
            <a:buNone/>
          </a:pPr>
          <a:r>
            <a:rPr lang="en-US" sz="900" kern="1200" dirty="0"/>
            <a:t>Dave Beaumont</a:t>
          </a:r>
          <a:br>
            <a:rPr lang="en-US" sz="900" kern="1200" dirty="0"/>
          </a:br>
          <a:r>
            <a:rPr lang="en-US" sz="900" kern="1200" dirty="0"/>
            <a:t>Regional Director of Umpiring</a:t>
          </a:r>
          <a:br>
            <a:rPr lang="en-US" sz="900" kern="1200" dirty="0"/>
          </a:br>
          <a:r>
            <a:rPr lang="en-US" sz="900" kern="1200" dirty="0"/>
            <a:t>Te Waipounamu</a:t>
          </a:r>
          <a:br>
            <a:rPr lang="en-US" sz="900" kern="1200" dirty="0"/>
          </a:br>
          <a:r>
            <a:rPr lang="en-US" sz="900" kern="1200" dirty="0"/>
            <a:t>Southern (RDUS)</a:t>
          </a:r>
          <a:endParaRPr lang="en-NZ" sz="900" kern="1200" dirty="0"/>
        </a:p>
      </dsp:txBody>
      <dsp:txXfrm>
        <a:off x="5543677" y="1148147"/>
        <a:ext cx="1530399" cy="675559"/>
      </dsp:txXfrm>
    </dsp:sp>
    <dsp:sp modelId="{F85ECD57-8197-46CE-B189-89A7A65AB38F}">
      <dsp:nvSpPr>
        <dsp:cNvPr id="0" name=""/>
        <dsp:cNvSpPr/>
      </dsp:nvSpPr>
      <dsp:spPr>
        <a:xfrm>
          <a:off x="6001845" y="3044957"/>
          <a:ext cx="1211900" cy="1500195"/>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715" tIns="5715" rIns="5715" bIns="5715" numCol="1" spcCol="1270" anchor="ctr" anchorCtr="0">
          <a:noAutofit/>
        </a:bodyPr>
        <a:lstStyle/>
        <a:p>
          <a:pPr marL="0" lvl="0" indent="0" algn="ctr" defTabSz="400050">
            <a:lnSpc>
              <a:spcPct val="90000"/>
            </a:lnSpc>
            <a:spcBef>
              <a:spcPct val="0"/>
            </a:spcBef>
            <a:spcAft>
              <a:spcPct val="35000"/>
            </a:spcAft>
            <a:buNone/>
          </a:pPr>
          <a:r>
            <a:rPr lang="en-NZ" sz="900" kern="1200"/>
            <a:t>Umpire In Chief </a:t>
          </a:r>
          <a:br>
            <a:rPr lang="en-NZ" sz="900" kern="1200"/>
          </a:br>
          <a:r>
            <a:rPr lang="en-NZ" sz="900" kern="1200"/>
            <a:t>Local Associations:</a:t>
          </a:r>
          <a:br>
            <a:rPr lang="en-NZ" sz="900" kern="1200"/>
          </a:br>
          <a:r>
            <a:rPr lang="en-NZ" sz="900" kern="1200"/>
            <a:t>Tasman</a:t>
          </a:r>
          <a:br>
            <a:rPr lang="en-NZ" sz="900" kern="1200"/>
          </a:br>
          <a:r>
            <a:rPr lang="en-NZ" sz="900" kern="1200"/>
            <a:t>Marlborough</a:t>
          </a:r>
          <a:br>
            <a:rPr lang="en-NZ" sz="900" kern="1200"/>
          </a:br>
          <a:r>
            <a:rPr lang="en-NZ" sz="900" kern="1200"/>
            <a:t>Canterbury</a:t>
          </a:r>
          <a:br>
            <a:rPr lang="en-NZ" sz="900" kern="1200"/>
          </a:br>
          <a:r>
            <a:rPr lang="en-NZ" sz="900" kern="1200"/>
            <a:t>North Otago</a:t>
          </a:r>
          <a:br>
            <a:rPr lang="en-NZ" sz="900" kern="1200"/>
          </a:br>
          <a:r>
            <a:rPr lang="en-NZ" sz="900" kern="1200"/>
            <a:t>Otago</a:t>
          </a:r>
          <a:br>
            <a:rPr lang="en-NZ" sz="900" kern="1200"/>
          </a:br>
          <a:r>
            <a:rPr lang="en-NZ" sz="900" kern="1200"/>
            <a:t>Central Otago</a:t>
          </a:r>
          <a:br>
            <a:rPr lang="en-NZ" sz="900" kern="1200"/>
          </a:br>
          <a:r>
            <a:rPr lang="en-NZ" sz="900" kern="1200"/>
            <a:t>Southland</a:t>
          </a:r>
          <a:br>
            <a:rPr lang="en-NZ" sz="900" kern="1200"/>
          </a:br>
          <a:r>
            <a:rPr lang="en-NZ" sz="900" kern="1200"/>
            <a:t>(7)</a:t>
          </a:r>
          <a:br>
            <a:rPr lang="en-NZ" sz="900" kern="1200"/>
          </a:br>
          <a:endParaRPr lang="en-NZ" sz="900" kern="1200"/>
        </a:p>
      </dsp:txBody>
      <dsp:txXfrm>
        <a:off x="6001845" y="3044957"/>
        <a:ext cx="1211900" cy="1500195"/>
      </dsp:txXfrm>
    </dsp:sp>
    <dsp:sp modelId="{6B165EE7-58FD-4E75-BBC2-DA2C78D999C8}">
      <dsp:nvSpPr>
        <dsp:cNvPr id="0" name=""/>
        <dsp:cNvSpPr/>
      </dsp:nvSpPr>
      <dsp:spPr>
        <a:xfrm>
          <a:off x="5834050" y="2131472"/>
          <a:ext cx="1351119" cy="675559"/>
        </a:xfrm>
        <a:prstGeom prst="rect">
          <a:avLst/>
        </a:prstGeom>
        <a:solidFill>
          <a:schemeClr val="accent2"/>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715" tIns="5715" rIns="5715" bIns="5715" numCol="1" spcCol="1270" anchor="ctr" anchorCtr="0">
          <a:noAutofit/>
        </a:bodyPr>
        <a:lstStyle/>
        <a:p>
          <a:pPr marL="0" lvl="0" indent="0" algn="ctr" defTabSz="400050">
            <a:lnSpc>
              <a:spcPct val="90000"/>
            </a:lnSpc>
            <a:spcBef>
              <a:spcPct val="0"/>
            </a:spcBef>
            <a:spcAft>
              <a:spcPct val="35000"/>
            </a:spcAft>
            <a:buNone/>
          </a:pPr>
          <a:r>
            <a:rPr lang="en-NZ" sz="900" kern="1200" dirty="0"/>
            <a:t>Rikki Thompson</a:t>
          </a:r>
          <a:br>
            <a:rPr lang="en-NZ" sz="900" kern="1200" dirty="0"/>
          </a:br>
          <a:r>
            <a:rPr lang="en-NZ" sz="900" kern="1200" dirty="0"/>
            <a:t>Assistant Regional Director </a:t>
          </a:r>
          <a:br>
            <a:rPr lang="en-NZ" sz="900" kern="1200" dirty="0"/>
          </a:br>
          <a:r>
            <a:rPr lang="en-NZ" sz="900" kern="1200" dirty="0"/>
            <a:t>of Umpiring</a:t>
          </a:r>
          <a:br>
            <a:rPr lang="en-NZ" sz="900" kern="1200" dirty="0"/>
          </a:br>
          <a:r>
            <a:rPr lang="en-NZ" sz="900" kern="1200" dirty="0"/>
            <a:t>(ARDU)</a:t>
          </a:r>
        </a:p>
      </dsp:txBody>
      <dsp:txXfrm>
        <a:off x="5834050" y="2131472"/>
        <a:ext cx="1351119" cy="675559"/>
      </dsp:txXfrm>
    </dsp:sp>
    <dsp:sp modelId="{68515D6E-BBCF-452C-966C-21EDECA0AFF3}">
      <dsp:nvSpPr>
        <dsp:cNvPr id="0" name=""/>
        <dsp:cNvSpPr/>
      </dsp:nvSpPr>
      <dsp:spPr>
        <a:xfrm>
          <a:off x="7199569" y="1142256"/>
          <a:ext cx="1346795" cy="856055"/>
        </a:xfrm>
        <a:prstGeom prst="rect">
          <a:avLst/>
        </a:prstGeom>
        <a:solidFill>
          <a:schemeClr val="accent5">
            <a:lumMod val="60000"/>
            <a:lumOff val="40000"/>
          </a:schemeClr>
        </a:solidFill>
        <a:ln w="25400" cap="flat" cmpd="sng" algn="ctr">
          <a:solidFill>
            <a:schemeClr val="tx2">
              <a:lumMod val="60000"/>
              <a:lumOff val="4000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715" tIns="5715" rIns="5715" bIns="5715" numCol="1" spcCol="1270" anchor="ctr" anchorCtr="0">
          <a:noAutofit/>
        </a:bodyPr>
        <a:lstStyle/>
        <a:p>
          <a:pPr marL="0" lvl="0" indent="0" algn="ctr" defTabSz="400050">
            <a:lnSpc>
              <a:spcPct val="90000"/>
            </a:lnSpc>
            <a:spcBef>
              <a:spcPct val="0"/>
            </a:spcBef>
            <a:spcAft>
              <a:spcPct val="35000"/>
            </a:spcAft>
            <a:buNone/>
          </a:pPr>
          <a:r>
            <a:rPr lang="en-US" sz="900" kern="1200" dirty="0"/>
            <a:t>Lance Brown</a:t>
          </a:r>
          <a:br>
            <a:rPr lang="en-US" sz="900" kern="1200" dirty="0"/>
          </a:br>
          <a:r>
            <a:rPr lang="en-US" sz="900" kern="1200" dirty="0"/>
            <a:t>Regional Director at Large</a:t>
          </a:r>
          <a:br>
            <a:rPr lang="en-US" sz="900" kern="1200" dirty="0"/>
          </a:br>
          <a:r>
            <a:rPr lang="en-US" sz="900" kern="1200" dirty="0"/>
            <a:t>(RDU@L)</a:t>
          </a:r>
          <a:endParaRPr lang="en-NZ" sz="900" kern="1200" dirty="0"/>
        </a:p>
      </dsp:txBody>
      <dsp:txXfrm>
        <a:off x="7199569" y="1142256"/>
        <a:ext cx="1346795" cy="856055"/>
      </dsp:txXfrm>
    </dsp:sp>
  </dsp:spTree>
</dsp:drawing>
</file>

<file path=ppt/diagrams/layout1.xml><?xml version="1.0" encoding="utf-8"?>
<dgm:layoutDef xmlns:dgm="http://schemas.openxmlformats.org/drawingml/2006/diagram" xmlns:a="http://schemas.openxmlformats.org/drawingml/2006/main" uniqueId="urn:microsoft.com/office/officeart/2005/8/layout/orgChart1">
  <dgm:title val=""/>
  <dgm:desc val=""/>
  <dgm:catLst>
    <dgm:cat type="hierarchy" pri="1000"/>
    <dgm:cat type="convert" pri="6000"/>
  </dgm:catLst>
  <dgm:sampData>
    <dgm:dataModel>
      <dgm:ptLst>
        <dgm:pt modelId="0" type="doc"/>
        <dgm:pt modelId="1">
          <dgm:prSet phldr="1"/>
        </dgm:pt>
        <dgm:pt modelId="2" type="asst">
          <dgm:prSet phldr="1"/>
        </dgm:pt>
        <dgm:pt modelId="3">
          <dgm:prSet phldr="1"/>
        </dgm:pt>
        <dgm:pt modelId="4">
          <dgm:prSet phldr="1"/>
        </dgm:pt>
        <dgm:pt modelId="5">
          <dgm:prSet phldr="1"/>
        </dgm:pt>
      </dgm:ptLst>
      <dgm:cxnLst>
        <dgm:cxn modelId="5" srcId="0" destId="1" srcOrd="0" destOrd="0"/>
        <dgm:cxn modelId="6" srcId="1" destId="2" srcOrd="0" destOrd="0"/>
        <dgm:cxn modelId="7" srcId="1" destId="3" srcOrd="1" destOrd="0"/>
        <dgm:cxn modelId="8" srcId="1" destId="4" srcOrd="2" destOrd="0"/>
        <dgm:cxn modelId="9" srcId="1" destId="5" srcOrd="3" destOrd="0"/>
      </dgm:cxnLst>
      <dgm:bg/>
      <dgm:whole/>
    </dgm:dataModel>
  </dgm:sampData>
  <dgm:styleData>
    <dgm:dataModel>
      <dgm:ptLst>
        <dgm:pt modelId="0" type="doc"/>
        <dgm:pt modelId="1"/>
        <dgm:pt modelId="12"/>
        <dgm:pt modelId="13"/>
      </dgm:ptLst>
      <dgm:cxnLst>
        <dgm:cxn modelId="2" srcId="0" destId="1" srcOrd="0" destOrd="0"/>
        <dgm:cxn modelId="16" srcId="1" destId="12" srcOrd="1" destOrd="0"/>
        <dgm:cxn modelId="17" srcId="1" destId="13" srcOrd="2" destOrd="0"/>
      </dgm:cxnLst>
      <dgm:bg/>
      <dgm:whole/>
    </dgm:dataModel>
  </dgm:styleData>
  <dgm:clrData>
    <dgm:dataModel>
      <dgm:ptLst>
        <dgm:pt modelId="0" type="doc"/>
        <dgm:pt modelId="1"/>
        <dgm:pt modelId="11" type="asst"/>
        <dgm:pt modelId="12"/>
        <dgm:pt modelId="13"/>
        <dgm:pt modelId="14"/>
      </dgm:ptLst>
      <dgm:cxnLst>
        <dgm:cxn modelId="2" srcId="0" destId="1" srcOrd="0" destOrd="0"/>
        <dgm:cxn modelId="15" srcId="1" destId="11" srcOrd="0" destOrd="0"/>
        <dgm:cxn modelId="16" srcId="1" destId="12" srcOrd="1" destOrd="0"/>
        <dgm:cxn modelId="17" srcId="1" destId="13" srcOrd="2" destOrd="0"/>
        <dgm:cxn modelId="18" srcId="1" destId="14" srcOrd="2" destOrd="0"/>
      </dgm:cxnLst>
      <dgm:bg/>
      <dgm:whole/>
    </dgm:dataModel>
  </dgm:clrData>
  <dgm:layoutNode name="hierChild1">
    <dgm:varLst>
      <dgm:orgChart val="1"/>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w" for="des" forName="rootComposite1" refType="w" fact="10"/>
      <dgm:constr type="h" for="des" forName="rootComposite1" refType="w" refFor="des" refForName="rootComposite1" fact="0.5"/>
      <dgm:constr type="w" for="des" forName="rootComposite" refType="w" fact="10"/>
      <dgm:constr type="h" for="des" forName="rootComposite" refType="w" refFor="des" refForName="rootComposite1" fact="0.5"/>
      <dgm:constr type="w" for="des" forName="rootComposite3" refType="w" fact="10"/>
      <dgm:constr type="h" for="des" forName="rootComposite3" refType="w" refFor="des" refForName="rootComposite1" fact="0.5"/>
      <dgm:constr type="primFontSz" for="des" ptType="node" op="equ"/>
      <dgm:constr type="sp" for="des" op="equ"/>
      <dgm:constr type="sp" for="des" forName="hierRoot1" refType="w" refFor="des" refForName="rootComposite1" fact="0.21"/>
      <dgm:constr type="sp" for="des" forName="hierRoot2" refType="sp" refFor="des" refForName="hierRoot1"/>
      <dgm:constr type="sp" for="des" forName="hierRoot3" refType="sp" refFor="des" refForName="hierRoot1"/>
      <dgm:constr type="sibSp" refType="w" refFor="des" refForName="rootComposite1" fact="0.2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ibSp" for="des" forName="hierChild7" refType="sibSp"/>
      <dgm:constr type="secSibSp" refType="w" refFor="des" refForName="rootComposite1" fact="0.21"/>
      <dgm:constr type="secSibSp" for="des" forName="hierChild2" refType="secSibSp"/>
      <dgm:constr type="secSibSp" for="des" forName="hierChild3" refType="secSibSp"/>
      <dgm:constr type="secSibSp" for="des" forName="hierChild4" refType="secSibSp"/>
      <dgm:constr type="secSibSp" for="des" forName="hierChild5" refType="secSibSp"/>
      <dgm:constr type="secSibSp" for="des" forName="hierChild6" refType="secSibSp"/>
      <dgm:constr type="secSibSp" for="des" forName="hierChild7" refType="secSibSp"/>
    </dgm:constrLst>
    <dgm:ruleLst/>
    <dgm:forEach name="Name3" axis="ch">
      <dgm:forEach name="Name4" axis="self" ptType="node">
        <dgm:layoutNode name="hierRoot1">
          <dgm:varLst>
            <dgm:hierBranch val="init"/>
          </dgm:varLst>
          <dgm:choose name="Name5">
            <dgm:if name="Name6" func="var" arg="hierBranch" op="equ" val="l">
              <dgm:choose name="Name7">
                <dgm:if name="Name8" axis="ch" ptType="asst" func="cnt" op="gte" val="1">
                  <dgm:alg type="hierRoot">
                    <dgm:param type="hierAlign" val="tR"/>
                  </dgm:alg>
                  <dgm:constrLst>
                    <dgm:constr type="alignOff" val="0.65"/>
                  </dgm:constrLst>
                </dgm:if>
                <dgm:else name="Name9">
                  <dgm:alg type="hierRoot">
                    <dgm:param type="hierAlign" val="tR"/>
                  </dgm:alg>
                  <dgm:constrLst>
                    <dgm:constr type="alignOff" val="0.25"/>
                  </dgm:constrLst>
                </dgm:else>
              </dgm:choose>
            </dgm:if>
            <dgm:if name="Name10" func="var" arg="hierBranch" op="equ" val="r">
              <dgm:choose name="Name11">
                <dgm:if name="Name12" axis="ch" ptType="asst" func="cnt" op="gte" val="1">
                  <dgm:alg type="hierRoot">
                    <dgm:param type="hierAlign" val="tL"/>
                  </dgm:alg>
                  <dgm:constrLst>
                    <dgm:constr type="alignOff" val="0.65"/>
                  </dgm:constrLst>
                </dgm:if>
                <dgm:else name="Name13">
                  <dgm:alg type="hierRoot">
                    <dgm:param type="hierAlign" val="tL"/>
                  </dgm:alg>
                  <dgm:constrLst>
                    <dgm:constr type="alignOff" val="0.25"/>
                  </dgm:constrLst>
                </dgm:else>
              </dgm:choose>
            </dgm:if>
            <dgm:if name="Name14" func="var" arg="hierBranch" op="equ" val="hang">
              <dgm:alg type="hierRoot"/>
              <dgm:constrLst>
                <dgm:constr type="alignOff" val="0.65"/>
              </dgm:constrLst>
            </dgm:if>
            <dgm:else name="Name15">
              <dgm:alg type="hierRoot"/>
              <dgm:constrLst>
                <dgm:constr type="alignOff"/>
                <dgm:constr type="bendDist" for="des" ptType="parTrans" refType="sp" fact="0.5"/>
              </dgm:constrLst>
            </dgm:else>
          </dgm:choose>
          <dgm:shape xmlns:r="http://schemas.openxmlformats.org/officeDocument/2006/relationships" r:blip="">
            <dgm:adjLst/>
          </dgm:shape>
          <dgm:presOf/>
          <dgm:ruleLst/>
          <dgm:layoutNode name="rootComposite1">
            <dgm:alg type="composite"/>
            <dgm:shape xmlns:r="http://schemas.openxmlformats.org/officeDocument/2006/relationships" r:blip="">
              <dgm:adjLst/>
            </dgm:shape>
            <dgm:presOf axis="self" ptType="node" cnt="1"/>
            <dgm:choose name="Name16">
              <dgm:if name="Name17" func="var" arg="hierBranch" op="equ" val="init">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if name="Name18" func="var" arg="hierBranch" op="equ" val="l">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if>
              <dgm:if name="Name19" func="var" arg="hierBranch" op="equ" val="r">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else name="Name20">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else>
            </dgm:choose>
            <dgm:ruleLst/>
            <dgm:layoutNode name="rootText1" styleLbl="node0">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1" moveWith="rootText1">
              <dgm:alg type="sp"/>
              <dgm:shape xmlns:r="http://schemas.openxmlformats.org/officeDocument/2006/relationships" type="rect" r:blip="" hideGeom="1">
                <dgm:adjLst/>
              </dgm:shape>
              <dgm:presOf axis="self" ptType="node" cnt="1"/>
              <dgm:constrLst/>
              <dgm:ruleLst/>
            </dgm:layoutNode>
          </dgm:layoutNode>
          <dgm:layoutNode name="hierChild2">
            <dgm:choose name="Name21">
              <dgm:if name="Name22" func="var" arg="hierBranch" op="equ" val="l">
                <dgm:alg type="hierChild">
                  <dgm:param type="chAlign" val="r"/>
                  <dgm:param type="linDir" val="fromT"/>
                </dgm:alg>
              </dgm:if>
              <dgm:if name="Name23" func="var" arg="hierBranch" op="equ" val="r">
                <dgm:alg type="hierChild">
                  <dgm:param type="chAlign" val="l"/>
                  <dgm:param type="linDir" val="fromT"/>
                </dgm:alg>
              </dgm:if>
              <dgm:if name="Name24" func="var" arg="hierBranch" op="equ" val="hang">
                <dgm:choose name="Name25">
                  <dgm:if name="Name26" func="var" arg="dir" op="equ" val="norm">
                    <dgm:alg type="hierChild">
                      <dgm:param type="chAlign" val="l"/>
                      <dgm:param type="linDir" val="fromL"/>
                      <dgm:param type="secChAlign" val="t"/>
                      <dgm:param type="secLinDir" val="fromT"/>
                    </dgm:alg>
                  </dgm:if>
                  <dgm:else name="Name27">
                    <dgm:alg type="hierChild">
                      <dgm:param type="chAlign" val="l"/>
                      <dgm:param type="linDir" val="fromR"/>
                      <dgm:param type="secChAlign" val="t"/>
                      <dgm:param type="secLinDir" val="fromT"/>
                    </dgm:alg>
                  </dgm:else>
                </dgm:choose>
              </dgm:if>
              <dgm:else name="Name28">
                <dgm:choose name="Name29">
                  <dgm:if name="Name30" func="var" arg="dir" op="equ" val="norm">
                    <dgm:alg type="hierChild"/>
                  </dgm:if>
                  <dgm:else name="Name31">
                    <dgm:alg type="hierChild">
                      <dgm:param type="linDir" val="fromR"/>
                    </dgm:alg>
                  </dgm:else>
                </dgm:choose>
              </dgm:else>
            </dgm:choose>
            <dgm:shape xmlns:r="http://schemas.openxmlformats.org/officeDocument/2006/relationships" r:blip="">
              <dgm:adjLst/>
            </dgm:shape>
            <dgm:presOf/>
            <dgm:constrLst/>
            <dgm:ruleLst/>
            <dgm:forEach name="rep2a" axis="ch" ptType="nonAsst">
              <dgm:forEach name="Name32" axis="precedSib" ptType="parTrans" st="-1" cnt="1">
                <dgm:choose name="Name33">
                  <dgm:if name="Name34" func="var" arg="hierBranch" op="equ" val="std">
                    <dgm:layoutNode name="Name35">
                      <dgm:alg type="conn">
                        <dgm:param type="connRout" val="bend"/>
                        <dgm:param type="dim" val="1D"/>
                        <dgm:param type="endSty" val="noArr"/>
                        <dgm:param type="begPts" val="bCtr"/>
                        <dgm:param type="endPts" val="tCtr"/>
                        <dgm:param type="bendPt" val="end"/>
                      </dgm:alg>
                      <dgm:shape xmlns:r="http://schemas.openxmlformats.org/officeDocument/2006/relationships" type="conn" r:blip="" zOrderOff="-99999">
                        <dgm:adjLst/>
                      </dgm:shape>
                      <dgm:presOf axis="self"/>
                      <dgm:constrLst>
                        <dgm:constr type="begPad"/>
                        <dgm:constr type="endPad"/>
                      </dgm:constrLst>
                      <dgm:ruleLst/>
                    </dgm:layoutNode>
                  </dgm:if>
                  <dgm:if name="Name36" func="var" arg="hierBranch" op="equ" val="init">
                    <dgm:layoutNode name="Name37">
                      <dgm:choose name="Name38">
                        <dgm:if name="Name39" axis="self" func="depth" op="lte" val="2">
                          <dgm:alg type="conn">
                            <dgm:param type="connRout" val="bend"/>
                            <dgm:param type="dim" val="1D"/>
                            <dgm:param type="endSty" val="noArr"/>
                            <dgm:param type="begPts" val="bCtr"/>
                            <dgm:param type="endPts" val="tCtr"/>
                            <dgm:param type="bendPt" val="end"/>
                          </dgm:alg>
                        </dgm:if>
                        <dgm:else name="Name40">
                          <dgm:choose name="Name41">
                            <dgm:if name="Name42" axis="par des" func="maxDepth" op="lte" val="1">
                              <dgm:choose name="Name43">
                                <dgm:if name="Name44" axis="par ch" ptType="node asst" func="cnt" op="gte" val="1">
                                  <dgm:alg type="conn">
                                    <dgm:param type="connRout" val="bend"/>
                                    <dgm:param type="dim" val="1D"/>
                                    <dgm:param type="endSty" val="noArr"/>
                                    <dgm:param type="begPts" val="bCtr"/>
                                    <dgm:param type="endPts" val="midL midR"/>
                                  </dgm:alg>
                                </dgm:if>
                                <dgm:else name="Name45">
                                  <dgm:alg type="conn">
                                    <dgm:param type="connRout" val="bend"/>
                                    <dgm:param type="dim" val="1D"/>
                                    <dgm:param type="endSty" val="noArr"/>
                                    <dgm:param type="begPts" val="bCtr"/>
                                    <dgm:param type="endPts" val="midL midR"/>
                                    <dgm:param type="srcNode" val="rootConnector"/>
                                  </dgm:alg>
                                </dgm:else>
                              </dgm:choose>
                            </dgm:if>
                            <dgm:else name="Name46">
                              <dgm:alg type="conn">
                                <dgm:param type="connRout" val="bend"/>
                                <dgm:param type="dim" val="1D"/>
                                <dgm:param type="endSty" val="noArr"/>
                                <dgm:param type="begPts" val="bCtr"/>
                                <dgm:param type="endPts" val="tCtr"/>
                                <dgm:param type="bendPt" val="end"/>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if>
                  <dgm:if name="Name47" func="var" arg="hierBranch" op="equ" val="hang">
                    <dgm:layoutNode name="Name48">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if>
                  <dgm:else name="Name49">
                    <dgm:layoutNode name="Name50">
                      <dgm:choose name="Name51">
                        <dgm:if name="Name52" axis="self" func="depth" op="lte" val="2">
                          <dgm:choose name="Name53">
                            <dgm:if name="Name54" axis="par ch" ptType="node asst" func="cnt" op="gte" val="1">
                              <dgm:alg type="conn">
                                <dgm:param type="connRout" val="bend"/>
                                <dgm:param type="dim" val="1D"/>
                                <dgm:param type="endSty" val="noArr"/>
                                <dgm:param type="begPts" val="bCtr"/>
                                <dgm:param type="endPts" val="midL midR"/>
                              </dgm:alg>
                            </dgm:if>
                            <dgm:else name="Name55">
                              <dgm:alg type="conn">
                                <dgm:param type="connRout" val="bend"/>
                                <dgm:param type="dim" val="1D"/>
                                <dgm:param type="endSty" val="noArr"/>
                                <dgm:param type="begPts" val="bCtr"/>
                                <dgm:param type="endPts" val="midL midR"/>
                                <dgm:param type="srcNode" val="rootConnector1"/>
                              </dgm:alg>
                            </dgm:else>
                          </dgm:choose>
                        </dgm:if>
                        <dgm:else name="Name56">
                          <dgm:choose name="Name57">
                            <dgm:if name="Name58" axis="par ch" ptType="node asst" func="cnt" op="gte" val="1">
                              <dgm:alg type="conn">
                                <dgm:param type="connRout" val="bend"/>
                                <dgm:param type="dim" val="1D"/>
                                <dgm:param type="endSty" val="noArr"/>
                                <dgm:param type="begPts" val="bCtr"/>
                                <dgm:param type="endPts" val="midL midR"/>
                              </dgm:alg>
                            </dgm:if>
                            <dgm:else name="Name59">
                              <dgm:alg type="conn">
                                <dgm:param type="connRout" val="bend"/>
                                <dgm:param type="dim" val="1D"/>
                                <dgm:param type="endSty" val="noArr"/>
                                <dgm:param type="begPts" val="bCtr"/>
                                <dgm:param type="endPts" val="midL midR"/>
                                <dgm:param type="srcNode" val="rootConnector"/>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else>
                </dgm:choose>
              </dgm:forEach>
              <dgm:layoutNode name="hierRoot2">
                <dgm:varLst>
                  <dgm:hierBranch val="init"/>
                </dgm:varLst>
                <dgm:choose name="Name60">
                  <dgm:if name="Name61" func="var" arg="hierBranch" op="equ" val="l">
                    <dgm:choose name="Name62">
                      <dgm:if name="Name63" axis="ch" ptType="asst" func="cnt" op="gte" val="1">
                        <dgm:alg type="hierRoot">
                          <dgm:param type="hierAlign" val="tR"/>
                        </dgm:alg>
                        <dgm:shape xmlns:r="http://schemas.openxmlformats.org/officeDocument/2006/relationships" r:blip="">
                          <dgm:adjLst/>
                        </dgm:shape>
                        <dgm:presOf/>
                        <dgm:constrLst>
                          <dgm:constr type="alignOff" val="0.65"/>
                        </dgm:constrLst>
                      </dgm:if>
                      <dgm:else name="Name64">
                        <dgm:alg type="hierRoot">
                          <dgm:param type="hierAlign" val="tR"/>
                        </dgm:alg>
                        <dgm:shape xmlns:r="http://schemas.openxmlformats.org/officeDocument/2006/relationships" r:blip="">
                          <dgm:adjLst/>
                        </dgm:shape>
                        <dgm:presOf/>
                        <dgm:constrLst>
                          <dgm:constr type="alignOff" val="0.25"/>
                        </dgm:constrLst>
                      </dgm:else>
                    </dgm:choose>
                  </dgm:if>
                  <dgm:if name="Name65" func="var" arg="hierBranch" op="equ" val="r">
                    <dgm:choose name="Name66">
                      <dgm:if name="Name67"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68">
                        <dgm:alg type="hierRoot">
                          <dgm:param type="hierAlign" val="tL"/>
                        </dgm:alg>
                        <dgm:shape xmlns:r="http://schemas.openxmlformats.org/officeDocument/2006/relationships" r:blip="">
                          <dgm:adjLst/>
                        </dgm:shape>
                        <dgm:presOf/>
                        <dgm:constrLst>
                          <dgm:constr type="alignOff" val="0.25"/>
                        </dgm:constrLst>
                      </dgm:else>
                    </dgm:choose>
                  </dgm:if>
                  <dgm:if name="Name69"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70" func="var" arg="hierBranch" op="equ" val="init">
                    <dgm:choose name="Name71">
                      <dgm:if name="Name72" axis="des" func="maxDepth" op="lte" val="1">
                        <dgm:choose name="Name73">
                          <dgm:if name="Name74"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75">
                            <dgm:alg type="hierRoot">
                              <dgm:param type="hierAlign" val="tL"/>
                            </dgm:alg>
                            <dgm:shape xmlns:r="http://schemas.openxmlformats.org/officeDocument/2006/relationships" r:blip="">
                              <dgm:adjLst/>
                            </dgm:shape>
                            <dgm:presOf/>
                            <dgm:constrLst>
                              <dgm:constr type="alignOff" val="0.25"/>
                            </dgm:constrLst>
                          </dgm:else>
                        </dgm:choose>
                      </dgm:if>
                      <dgm:else name="Name76">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77">
                    <dgm:alg type="hierRoot"/>
                    <dgm:shape xmlns:r="http://schemas.openxmlformats.org/officeDocument/2006/relationships" r:blip="">
                      <dgm:adjLst/>
                    </dgm:shape>
                    <dgm:presOf/>
                    <dgm:constrLst>
                      <dgm:constr type="alignOff" val="0.65"/>
                    </dgm:constrLst>
                  </dgm:else>
                </dgm:choose>
                <dgm:ruleLst/>
                <dgm:layoutNode name="rootComposite">
                  <dgm:alg type="composite"/>
                  <dgm:shape xmlns:r="http://schemas.openxmlformats.org/officeDocument/2006/relationships" r:blip="">
                    <dgm:adjLst/>
                  </dgm:shape>
                  <dgm:presOf axis="self" ptType="node" cnt="1"/>
                  <dgm:choose name="Name78">
                    <dgm:if name="Name79" func="var" arg="hierBranch" op="equ" val="init">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if name="Name80" func="var" arg="hierBranch" op="equ" val="l">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if>
                    <dgm:if name="Name81" func="var" arg="hierBranch" op="equ" val="r">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82">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 moveWith="rootText">
                    <dgm:alg type="sp"/>
                    <dgm:shape xmlns:r="http://schemas.openxmlformats.org/officeDocument/2006/relationships" type="rect" r:blip="" hideGeom="1">
                      <dgm:adjLst/>
                    </dgm:shape>
                    <dgm:presOf axis="self" ptType="node" cnt="1"/>
                    <dgm:constrLst/>
                    <dgm:ruleLst/>
                  </dgm:layoutNode>
                </dgm:layoutNode>
                <dgm:layoutNode name="hierChild4">
                  <dgm:choose name="Name83">
                    <dgm:if name="Name84" func="var" arg="hierBranch" op="equ" val="l">
                      <dgm:alg type="hierChild">
                        <dgm:param type="chAlign" val="r"/>
                        <dgm:param type="linDir" val="fromT"/>
                      </dgm:alg>
                    </dgm:if>
                    <dgm:if name="Name85" func="var" arg="hierBranch" op="equ" val="r">
                      <dgm:alg type="hierChild">
                        <dgm:param type="chAlign" val="l"/>
                        <dgm:param type="linDir" val="fromT"/>
                      </dgm:alg>
                    </dgm:if>
                    <dgm:if name="Name86" func="var" arg="hierBranch" op="equ" val="hang">
                      <dgm:choose name="Name87">
                        <dgm:if name="Name88" func="var" arg="dir" op="equ" val="norm">
                          <dgm:alg type="hierChild">
                            <dgm:param type="chAlign" val="l"/>
                            <dgm:param type="linDir" val="fromL"/>
                            <dgm:param type="secChAlign" val="t"/>
                            <dgm:param type="secLinDir" val="fromT"/>
                          </dgm:alg>
                        </dgm:if>
                        <dgm:else name="Name89">
                          <dgm:alg type="hierChild">
                            <dgm:param type="chAlign" val="l"/>
                            <dgm:param type="linDir" val="fromR"/>
                            <dgm:param type="secChAlign" val="t"/>
                            <dgm:param type="secLinDir" val="fromT"/>
                          </dgm:alg>
                        </dgm:else>
                      </dgm:choose>
                    </dgm:if>
                    <dgm:if name="Name90" func="var" arg="hierBranch" op="equ" val="std">
                      <dgm:choose name="Name91">
                        <dgm:if name="Name92" func="var" arg="dir" op="equ" val="norm">
                          <dgm:alg type="hierChild"/>
                        </dgm:if>
                        <dgm:else name="Name93">
                          <dgm:alg type="hierChild">
                            <dgm:param type="linDir" val="fromR"/>
                          </dgm:alg>
                        </dgm:else>
                      </dgm:choose>
                    </dgm:if>
                    <dgm:if name="Name94" func="var" arg="hierBranch" op="equ" val="init">
                      <dgm:choose name="Name95">
                        <dgm:if name="Name96" axis="des" func="maxDepth" op="lte" val="1">
                          <dgm:alg type="hierChild">
                            <dgm:param type="chAlign" val="l"/>
                            <dgm:param type="linDir" val="fromT"/>
                          </dgm:alg>
                        </dgm:if>
                        <dgm:else name="Name97">
                          <dgm:choose name="Name98">
                            <dgm:if name="Name99" func="var" arg="dir" op="equ" val="norm">
                              <dgm:alg type="hierChild"/>
                            </dgm:if>
                            <dgm:else name="Name100">
                              <dgm:alg type="hierChild">
                                <dgm:param type="linDir" val="fromR"/>
                              </dgm:alg>
                            </dgm:else>
                          </dgm:choose>
                        </dgm:else>
                      </dgm:choose>
                    </dgm:if>
                    <dgm:else name="Name101"/>
                  </dgm:choose>
                  <dgm:shape xmlns:r="http://schemas.openxmlformats.org/officeDocument/2006/relationships" r:blip="">
                    <dgm:adjLst/>
                  </dgm:shape>
                  <dgm:presOf/>
                  <dgm:constrLst/>
                  <dgm:ruleLst/>
                  <dgm:forEach name="Name102" ref="rep2a"/>
                </dgm:layoutNode>
                <dgm:layoutNode name="hierChild5">
                  <dgm:choose name="Name103">
                    <dgm:if name="Name104" func="var" arg="dir" op="equ" val="norm">
                      <dgm:alg type="hierChild">
                        <dgm:param type="chAlign" val="l"/>
                        <dgm:param type="linDir" val="fromL"/>
                        <dgm:param type="secChAlign" val="t"/>
                        <dgm:param type="secLinDir" val="fromT"/>
                      </dgm:alg>
                    </dgm:if>
                    <dgm:else name="Name105">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06" ref="rep2b"/>
                </dgm:layoutNode>
              </dgm:layoutNode>
            </dgm:forEach>
          </dgm:layoutNode>
          <dgm:layoutNode name="hierChild3">
            <dgm:choose name="Name107">
              <dgm:if name="Name108" func="var" arg="dir" op="equ" val="norm">
                <dgm:alg type="hierChild">
                  <dgm:param type="chAlign" val="l"/>
                  <dgm:param type="linDir" val="fromL"/>
                  <dgm:param type="secChAlign" val="t"/>
                  <dgm:param type="secLinDir" val="fromT"/>
                </dgm:alg>
              </dgm:if>
              <dgm:else name="Name109">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rep2b" axis="ch" ptType="asst">
              <dgm:forEach name="Name110" axis="precedSib" ptType="parTrans" st="-1" cnt="1">
                <dgm:layoutNode name="Name111">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forEach>
              <dgm:layoutNode name="hierRoot3">
                <dgm:varLst>
                  <dgm:hierBranch val="init"/>
                </dgm:varLst>
                <dgm:choose name="Name112">
                  <dgm:if name="Name113" func="var" arg="hierBranch" op="equ" val="l">
                    <dgm:alg type="hierRoot">
                      <dgm:param type="hierAlign" val="tR"/>
                    </dgm:alg>
                    <dgm:shape xmlns:r="http://schemas.openxmlformats.org/officeDocument/2006/relationships" r:blip="">
                      <dgm:adjLst/>
                    </dgm:shape>
                    <dgm:presOf/>
                    <dgm:constrLst>
                      <dgm:constr type="alignOff" val="0.65"/>
                    </dgm:constrLst>
                  </dgm:if>
                  <dgm:if name="Name114" func="var" arg="hierBranch" op="equ" val="r">
                    <dgm:alg type="hierRoot">
                      <dgm:param type="hierAlign" val="tL"/>
                    </dgm:alg>
                    <dgm:shape xmlns:r="http://schemas.openxmlformats.org/officeDocument/2006/relationships" r:blip="">
                      <dgm:adjLst/>
                    </dgm:shape>
                    <dgm:presOf/>
                    <dgm:constrLst>
                      <dgm:constr type="alignOff" val="0.65"/>
                    </dgm:constrLst>
                  </dgm:if>
                  <dgm:if name="Name115" func="var" arg="hierBranch" op="equ" val="hang">
                    <dgm:alg type="hierRoot"/>
                    <dgm:shape xmlns:r="http://schemas.openxmlformats.org/officeDocument/2006/relationships" r:blip="">
                      <dgm:adjLst/>
                    </dgm:shape>
                    <dgm:presOf/>
                    <dgm:constrLst>
                      <dgm:constr type="alignOff" val="0.65"/>
                    </dgm:constrLst>
                  </dgm:if>
                  <dgm:if name="Name116"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117" func="var" arg="hierBranch" op="equ" val="init">
                    <dgm:choose name="Name118">
                      <dgm:if name="Name119" axis="des" func="maxDepth" op="lte" val="1">
                        <dgm:alg type="hierRoot">
                          <dgm:param type="hierAlign" val="tL"/>
                        </dgm:alg>
                        <dgm:shape xmlns:r="http://schemas.openxmlformats.org/officeDocument/2006/relationships" r:blip="">
                          <dgm:adjLst/>
                        </dgm:shape>
                        <dgm:presOf/>
                        <dgm:constrLst>
                          <dgm:constr type="alignOff" val="0.65"/>
                        </dgm:constrLst>
                      </dgm:if>
                      <dgm:else name="Name120">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121"/>
                </dgm:choose>
                <dgm:ruleLst/>
                <dgm:layoutNode name="rootComposite3">
                  <dgm:alg type="composite"/>
                  <dgm:shape xmlns:r="http://schemas.openxmlformats.org/officeDocument/2006/relationships" r:blip="">
                    <dgm:adjLst/>
                  </dgm:shape>
                  <dgm:presOf axis="self" ptType="node" cnt="1"/>
                  <dgm:choose name="Name122">
                    <dgm:if name="Name123" func="var" arg="hierBranch" op="equ" val="init">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if name="Name124" func="var" arg="hierBranch" op="equ" val="l">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if>
                    <dgm:if name="Name125" func="var" arg="hierBranch" op="equ" val="r">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else name="Name126">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else>
                  </dgm:choose>
                  <dgm:ruleLst/>
                  <dgm:layoutNode name="rootText3">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3" moveWith="rootText1">
                    <dgm:alg type="sp"/>
                    <dgm:shape xmlns:r="http://schemas.openxmlformats.org/officeDocument/2006/relationships" type="rect" r:blip="" hideGeom="1">
                      <dgm:adjLst/>
                    </dgm:shape>
                    <dgm:presOf axis="self" ptType="node" cnt="1"/>
                    <dgm:constrLst/>
                    <dgm:ruleLst/>
                  </dgm:layoutNode>
                </dgm:layoutNode>
                <dgm:layoutNode name="hierChild6">
                  <dgm:choose name="Name127">
                    <dgm:if name="Name128" func="var" arg="hierBranch" op="equ" val="l">
                      <dgm:alg type="hierChild">
                        <dgm:param type="chAlign" val="r"/>
                        <dgm:param type="linDir" val="fromT"/>
                      </dgm:alg>
                    </dgm:if>
                    <dgm:if name="Name129" func="var" arg="hierBranch" op="equ" val="r">
                      <dgm:alg type="hierChild">
                        <dgm:param type="chAlign" val="l"/>
                        <dgm:param type="linDir" val="fromT"/>
                      </dgm:alg>
                    </dgm:if>
                    <dgm:if name="Name130" func="var" arg="hierBranch" op="equ" val="hang">
                      <dgm:choose name="Name131">
                        <dgm:if name="Name132" func="var" arg="dir" op="equ" val="norm">
                          <dgm:alg type="hierChild">
                            <dgm:param type="chAlign" val="l"/>
                            <dgm:param type="linDir" val="fromL"/>
                            <dgm:param type="secChAlign" val="t"/>
                            <dgm:param type="secLinDir" val="fromT"/>
                          </dgm:alg>
                        </dgm:if>
                        <dgm:else name="Name133">
                          <dgm:alg type="hierChild">
                            <dgm:param type="chAlign" val="l"/>
                            <dgm:param type="linDir" val="fromR"/>
                            <dgm:param type="secChAlign" val="t"/>
                            <dgm:param type="secLinDir" val="fromT"/>
                          </dgm:alg>
                        </dgm:else>
                      </dgm:choose>
                    </dgm:if>
                    <dgm:if name="Name134" func="var" arg="hierBranch" op="equ" val="std">
                      <dgm:choose name="Name135">
                        <dgm:if name="Name136" func="var" arg="dir" op="equ" val="norm">
                          <dgm:alg type="hierChild"/>
                        </dgm:if>
                        <dgm:else name="Name137">
                          <dgm:alg type="hierChild">
                            <dgm:param type="linDir" val="fromR"/>
                          </dgm:alg>
                        </dgm:else>
                      </dgm:choose>
                    </dgm:if>
                    <dgm:if name="Name138" func="var" arg="hierBranch" op="equ" val="init">
                      <dgm:choose name="Name139">
                        <dgm:if name="Name140" axis="des" func="maxDepth" op="lte" val="1">
                          <dgm:alg type="hierChild">
                            <dgm:param type="chAlign" val="l"/>
                            <dgm:param type="linDir" val="fromT"/>
                          </dgm:alg>
                        </dgm:if>
                        <dgm:else name="Name141">
                          <dgm:alg type="hierChild"/>
                        </dgm:else>
                      </dgm:choose>
                    </dgm:if>
                    <dgm:else name="Name142"/>
                  </dgm:choose>
                  <dgm:shape xmlns:r="http://schemas.openxmlformats.org/officeDocument/2006/relationships" r:blip="">
                    <dgm:adjLst/>
                  </dgm:shape>
                  <dgm:presOf/>
                  <dgm:constrLst/>
                  <dgm:ruleLst/>
                  <dgm:forEach name="Name143" ref="rep2a"/>
                </dgm:layoutNode>
                <dgm:layoutNode name="hierChild7">
                  <dgm:choose name="Name144">
                    <dgm:if name="Name145" func="var" arg="dir" op="equ" val="norm">
                      <dgm:alg type="hierChild">
                        <dgm:param type="chAlign" val="l"/>
                        <dgm:param type="linDir" val="fromL"/>
                        <dgm:param type="secChAlign" val="t"/>
                        <dgm:param type="secLinDir" val="fromT"/>
                      </dgm:alg>
                    </dgm:if>
                    <dgm:else name="Name146">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47" ref="rep2b"/>
                </dgm:layoutNode>
              </dgm:layoutNode>
            </dgm:forEach>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6332"/>
          </a:xfrm>
          <a:prstGeom prst="rect">
            <a:avLst/>
          </a:prstGeom>
        </p:spPr>
        <p:txBody>
          <a:bodyPr vert="horz" lIns="95558" tIns="47779" rIns="95558" bIns="47779" rtlCol="0"/>
          <a:lstStyle>
            <a:lvl1pPr algn="l">
              <a:defRPr sz="1200"/>
            </a:lvl1pPr>
          </a:lstStyle>
          <a:p>
            <a:endParaRPr lang="en-NZ"/>
          </a:p>
        </p:txBody>
      </p:sp>
      <p:sp>
        <p:nvSpPr>
          <p:cNvPr id="3" name="Date Placeholder 2"/>
          <p:cNvSpPr>
            <a:spLocks noGrp="1"/>
          </p:cNvSpPr>
          <p:nvPr>
            <p:ph type="dt" idx="1"/>
          </p:nvPr>
        </p:nvSpPr>
        <p:spPr>
          <a:xfrm>
            <a:off x="3850443" y="0"/>
            <a:ext cx="2945659" cy="496332"/>
          </a:xfrm>
          <a:prstGeom prst="rect">
            <a:avLst/>
          </a:prstGeom>
        </p:spPr>
        <p:txBody>
          <a:bodyPr vert="horz" lIns="95558" tIns="47779" rIns="95558" bIns="47779" rtlCol="0"/>
          <a:lstStyle>
            <a:lvl1pPr algn="r">
              <a:defRPr sz="1200"/>
            </a:lvl1pPr>
          </a:lstStyle>
          <a:p>
            <a:fld id="{B6A795F5-5E08-4837-BD89-132FC1686E13}" type="datetimeFigureOut">
              <a:rPr lang="en-NZ" smtClean="0"/>
              <a:t>8/07/2018</a:t>
            </a:fld>
            <a:endParaRPr lang="en-NZ"/>
          </a:p>
        </p:txBody>
      </p:sp>
      <p:sp>
        <p:nvSpPr>
          <p:cNvPr id="4" name="Slide Image Placeholder 3"/>
          <p:cNvSpPr>
            <a:spLocks noGrp="1" noRot="1" noChangeAspect="1"/>
          </p:cNvSpPr>
          <p:nvPr>
            <p:ph type="sldImg" idx="2"/>
          </p:nvPr>
        </p:nvSpPr>
        <p:spPr>
          <a:xfrm>
            <a:off x="917575" y="744538"/>
            <a:ext cx="4962525" cy="3722687"/>
          </a:xfrm>
          <a:prstGeom prst="rect">
            <a:avLst/>
          </a:prstGeom>
          <a:noFill/>
          <a:ln w="12700">
            <a:solidFill>
              <a:prstClr val="black"/>
            </a:solidFill>
          </a:ln>
        </p:spPr>
        <p:txBody>
          <a:bodyPr vert="horz" lIns="95558" tIns="47779" rIns="95558" bIns="47779" rtlCol="0" anchor="ctr"/>
          <a:lstStyle/>
          <a:p>
            <a:endParaRPr lang="en-NZ"/>
          </a:p>
        </p:txBody>
      </p:sp>
      <p:sp>
        <p:nvSpPr>
          <p:cNvPr id="5" name="Notes Placeholder 4"/>
          <p:cNvSpPr>
            <a:spLocks noGrp="1"/>
          </p:cNvSpPr>
          <p:nvPr>
            <p:ph type="body" sz="quarter" idx="3"/>
          </p:nvPr>
        </p:nvSpPr>
        <p:spPr>
          <a:xfrm>
            <a:off x="679768" y="4715154"/>
            <a:ext cx="5438140" cy="4466987"/>
          </a:xfrm>
          <a:prstGeom prst="rect">
            <a:avLst/>
          </a:prstGeom>
        </p:spPr>
        <p:txBody>
          <a:bodyPr vert="horz" lIns="95558" tIns="47779" rIns="95558" bIns="47779"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NZ"/>
          </a:p>
        </p:txBody>
      </p:sp>
      <p:sp>
        <p:nvSpPr>
          <p:cNvPr id="6" name="Footer Placeholder 5"/>
          <p:cNvSpPr>
            <a:spLocks noGrp="1"/>
          </p:cNvSpPr>
          <p:nvPr>
            <p:ph type="ftr" sz="quarter" idx="4"/>
          </p:nvPr>
        </p:nvSpPr>
        <p:spPr>
          <a:xfrm>
            <a:off x="0" y="9428583"/>
            <a:ext cx="2945659" cy="496332"/>
          </a:xfrm>
          <a:prstGeom prst="rect">
            <a:avLst/>
          </a:prstGeom>
        </p:spPr>
        <p:txBody>
          <a:bodyPr vert="horz" lIns="95558" tIns="47779" rIns="95558" bIns="47779" rtlCol="0" anchor="b"/>
          <a:lstStyle>
            <a:lvl1pPr algn="l">
              <a:defRPr sz="1200"/>
            </a:lvl1pPr>
          </a:lstStyle>
          <a:p>
            <a:endParaRPr lang="en-NZ"/>
          </a:p>
        </p:txBody>
      </p:sp>
      <p:sp>
        <p:nvSpPr>
          <p:cNvPr id="7" name="Slide Number Placeholder 6"/>
          <p:cNvSpPr>
            <a:spLocks noGrp="1"/>
          </p:cNvSpPr>
          <p:nvPr>
            <p:ph type="sldNum" sz="quarter" idx="5"/>
          </p:nvPr>
        </p:nvSpPr>
        <p:spPr>
          <a:xfrm>
            <a:off x="3850443" y="9428583"/>
            <a:ext cx="2945659" cy="496332"/>
          </a:xfrm>
          <a:prstGeom prst="rect">
            <a:avLst/>
          </a:prstGeom>
        </p:spPr>
        <p:txBody>
          <a:bodyPr vert="horz" lIns="95558" tIns="47779" rIns="95558" bIns="47779" rtlCol="0" anchor="b"/>
          <a:lstStyle>
            <a:lvl1pPr algn="r">
              <a:defRPr sz="1200"/>
            </a:lvl1pPr>
          </a:lstStyle>
          <a:p>
            <a:fld id="{2131E878-C330-40DC-86D2-09729174F162}" type="slidenum">
              <a:rPr lang="en-NZ" smtClean="0"/>
              <a:t>‹#›</a:t>
            </a:fld>
            <a:endParaRPr lang="en-NZ"/>
          </a:p>
        </p:txBody>
      </p:sp>
    </p:spTree>
    <p:extLst>
      <p:ext uri="{BB962C8B-B14F-4D97-AF65-F5344CB8AC3E}">
        <p14:creationId xmlns:p14="http://schemas.microsoft.com/office/powerpoint/2010/main" val="149394504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Define implicit and the word portray.  Is </a:t>
            </a:r>
            <a:r>
              <a:rPr lang="en-US" dirty="0" err="1"/>
              <a:t>potray</a:t>
            </a:r>
            <a:r>
              <a:rPr lang="en-US" dirty="0"/>
              <a:t> the right word.  Is implicit applicable?</a:t>
            </a:r>
          </a:p>
          <a:p>
            <a:endParaRPr lang="en-US" dirty="0"/>
          </a:p>
          <a:p>
            <a:r>
              <a:rPr lang="en-US" dirty="0"/>
              <a:t>Mission statement requires a </a:t>
            </a:r>
            <a:r>
              <a:rPr lang="en-US" dirty="0" err="1"/>
              <a:t>towbar</a:t>
            </a:r>
            <a:endParaRPr lang="en-US" dirty="0"/>
          </a:p>
          <a:p>
            <a:endParaRPr lang="en-US" dirty="0"/>
          </a:p>
          <a:p>
            <a:r>
              <a:rPr lang="en-US" dirty="0"/>
              <a:t>Courage – insert ‘taking or take”</a:t>
            </a:r>
            <a:endParaRPr lang="en-NZ" dirty="0"/>
          </a:p>
        </p:txBody>
      </p:sp>
      <p:sp>
        <p:nvSpPr>
          <p:cNvPr id="4" name="Slide Number Placeholder 3"/>
          <p:cNvSpPr>
            <a:spLocks noGrp="1"/>
          </p:cNvSpPr>
          <p:nvPr>
            <p:ph type="sldNum" sz="quarter" idx="10"/>
          </p:nvPr>
        </p:nvSpPr>
        <p:spPr/>
        <p:txBody>
          <a:bodyPr/>
          <a:lstStyle/>
          <a:p>
            <a:fld id="{85EA1094-99EA-4BA4-9F13-634145E82E21}" type="slidenum">
              <a:rPr lang="en-NZ" smtClean="0"/>
              <a:t>2</a:t>
            </a:fld>
            <a:endParaRPr lang="en-NZ"/>
          </a:p>
        </p:txBody>
      </p:sp>
    </p:spTree>
    <p:extLst>
      <p:ext uri="{BB962C8B-B14F-4D97-AF65-F5344CB8AC3E}">
        <p14:creationId xmlns:p14="http://schemas.microsoft.com/office/powerpoint/2010/main" val="283589930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a:t>Click to edit Master title style</a:t>
            </a:r>
            <a:endParaRPr lang="en-NZ"/>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NZ"/>
          </a:p>
        </p:txBody>
      </p:sp>
      <p:sp>
        <p:nvSpPr>
          <p:cNvPr id="4" name="Date Placeholder 3"/>
          <p:cNvSpPr>
            <a:spLocks noGrp="1"/>
          </p:cNvSpPr>
          <p:nvPr>
            <p:ph type="dt" sz="half" idx="10"/>
          </p:nvPr>
        </p:nvSpPr>
        <p:spPr/>
        <p:txBody>
          <a:bodyPr/>
          <a:lstStyle/>
          <a:p>
            <a:fld id="{305C5B46-50D6-4BDC-8269-0748A33B3637}" type="datetimeFigureOut">
              <a:rPr lang="en-NZ" smtClean="0"/>
              <a:t>8/07/2018</a:t>
            </a:fld>
            <a:endParaRPr lang="en-NZ"/>
          </a:p>
        </p:txBody>
      </p:sp>
      <p:sp>
        <p:nvSpPr>
          <p:cNvPr id="5" name="Footer Placeholder 4"/>
          <p:cNvSpPr>
            <a:spLocks noGrp="1"/>
          </p:cNvSpPr>
          <p:nvPr>
            <p:ph type="ftr" sz="quarter" idx="11"/>
          </p:nvPr>
        </p:nvSpPr>
        <p:spPr/>
        <p:txBody>
          <a:bodyPr/>
          <a:lstStyle/>
          <a:p>
            <a:endParaRPr lang="en-NZ"/>
          </a:p>
        </p:txBody>
      </p:sp>
      <p:sp>
        <p:nvSpPr>
          <p:cNvPr id="6" name="Slide Number Placeholder 5"/>
          <p:cNvSpPr>
            <a:spLocks noGrp="1"/>
          </p:cNvSpPr>
          <p:nvPr>
            <p:ph type="sldNum" sz="quarter" idx="12"/>
          </p:nvPr>
        </p:nvSpPr>
        <p:spPr/>
        <p:txBody>
          <a:bodyPr/>
          <a:lstStyle/>
          <a:p>
            <a:fld id="{BAE2F85E-8E40-487D-BF48-59266CEABFD7}" type="slidenum">
              <a:rPr lang="en-NZ" smtClean="0"/>
              <a:t>‹#›</a:t>
            </a:fld>
            <a:endParaRPr lang="en-NZ"/>
          </a:p>
        </p:txBody>
      </p:sp>
    </p:spTree>
    <p:extLst>
      <p:ext uri="{BB962C8B-B14F-4D97-AF65-F5344CB8AC3E}">
        <p14:creationId xmlns:p14="http://schemas.microsoft.com/office/powerpoint/2010/main" val="345897772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NZ"/>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NZ"/>
          </a:p>
        </p:txBody>
      </p:sp>
      <p:sp>
        <p:nvSpPr>
          <p:cNvPr id="4" name="Date Placeholder 3"/>
          <p:cNvSpPr>
            <a:spLocks noGrp="1"/>
          </p:cNvSpPr>
          <p:nvPr>
            <p:ph type="dt" sz="half" idx="10"/>
          </p:nvPr>
        </p:nvSpPr>
        <p:spPr/>
        <p:txBody>
          <a:bodyPr/>
          <a:lstStyle/>
          <a:p>
            <a:fld id="{305C5B46-50D6-4BDC-8269-0748A33B3637}" type="datetimeFigureOut">
              <a:rPr lang="en-NZ" smtClean="0"/>
              <a:t>8/07/2018</a:t>
            </a:fld>
            <a:endParaRPr lang="en-NZ"/>
          </a:p>
        </p:txBody>
      </p:sp>
      <p:sp>
        <p:nvSpPr>
          <p:cNvPr id="5" name="Footer Placeholder 4"/>
          <p:cNvSpPr>
            <a:spLocks noGrp="1"/>
          </p:cNvSpPr>
          <p:nvPr>
            <p:ph type="ftr" sz="quarter" idx="11"/>
          </p:nvPr>
        </p:nvSpPr>
        <p:spPr/>
        <p:txBody>
          <a:bodyPr/>
          <a:lstStyle/>
          <a:p>
            <a:endParaRPr lang="en-NZ"/>
          </a:p>
        </p:txBody>
      </p:sp>
      <p:sp>
        <p:nvSpPr>
          <p:cNvPr id="6" name="Slide Number Placeholder 5"/>
          <p:cNvSpPr>
            <a:spLocks noGrp="1"/>
          </p:cNvSpPr>
          <p:nvPr>
            <p:ph type="sldNum" sz="quarter" idx="12"/>
          </p:nvPr>
        </p:nvSpPr>
        <p:spPr/>
        <p:txBody>
          <a:bodyPr/>
          <a:lstStyle/>
          <a:p>
            <a:fld id="{BAE2F85E-8E40-487D-BF48-59266CEABFD7}" type="slidenum">
              <a:rPr lang="en-NZ" smtClean="0"/>
              <a:t>‹#›</a:t>
            </a:fld>
            <a:endParaRPr lang="en-NZ"/>
          </a:p>
        </p:txBody>
      </p:sp>
    </p:spTree>
    <p:extLst>
      <p:ext uri="{BB962C8B-B14F-4D97-AF65-F5344CB8AC3E}">
        <p14:creationId xmlns:p14="http://schemas.microsoft.com/office/powerpoint/2010/main" val="409628991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a:t>Click to edit Master title style</a:t>
            </a:r>
            <a:endParaRPr lang="en-NZ"/>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NZ"/>
          </a:p>
        </p:txBody>
      </p:sp>
      <p:sp>
        <p:nvSpPr>
          <p:cNvPr id="4" name="Date Placeholder 3"/>
          <p:cNvSpPr>
            <a:spLocks noGrp="1"/>
          </p:cNvSpPr>
          <p:nvPr>
            <p:ph type="dt" sz="half" idx="10"/>
          </p:nvPr>
        </p:nvSpPr>
        <p:spPr/>
        <p:txBody>
          <a:bodyPr/>
          <a:lstStyle/>
          <a:p>
            <a:fld id="{305C5B46-50D6-4BDC-8269-0748A33B3637}" type="datetimeFigureOut">
              <a:rPr lang="en-NZ" smtClean="0"/>
              <a:t>8/07/2018</a:t>
            </a:fld>
            <a:endParaRPr lang="en-NZ"/>
          </a:p>
        </p:txBody>
      </p:sp>
      <p:sp>
        <p:nvSpPr>
          <p:cNvPr id="5" name="Footer Placeholder 4"/>
          <p:cNvSpPr>
            <a:spLocks noGrp="1"/>
          </p:cNvSpPr>
          <p:nvPr>
            <p:ph type="ftr" sz="quarter" idx="11"/>
          </p:nvPr>
        </p:nvSpPr>
        <p:spPr/>
        <p:txBody>
          <a:bodyPr/>
          <a:lstStyle/>
          <a:p>
            <a:endParaRPr lang="en-NZ"/>
          </a:p>
        </p:txBody>
      </p:sp>
      <p:sp>
        <p:nvSpPr>
          <p:cNvPr id="6" name="Slide Number Placeholder 5"/>
          <p:cNvSpPr>
            <a:spLocks noGrp="1"/>
          </p:cNvSpPr>
          <p:nvPr>
            <p:ph type="sldNum" sz="quarter" idx="12"/>
          </p:nvPr>
        </p:nvSpPr>
        <p:spPr/>
        <p:txBody>
          <a:bodyPr/>
          <a:lstStyle/>
          <a:p>
            <a:fld id="{BAE2F85E-8E40-487D-BF48-59266CEABFD7}" type="slidenum">
              <a:rPr lang="en-NZ" smtClean="0"/>
              <a:t>‹#›</a:t>
            </a:fld>
            <a:endParaRPr lang="en-NZ"/>
          </a:p>
        </p:txBody>
      </p:sp>
    </p:spTree>
    <p:extLst>
      <p:ext uri="{BB962C8B-B14F-4D97-AF65-F5344CB8AC3E}">
        <p14:creationId xmlns:p14="http://schemas.microsoft.com/office/powerpoint/2010/main" val="388532693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NZ"/>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NZ"/>
          </a:p>
        </p:txBody>
      </p:sp>
      <p:sp>
        <p:nvSpPr>
          <p:cNvPr id="4" name="Date Placeholder 3"/>
          <p:cNvSpPr>
            <a:spLocks noGrp="1"/>
          </p:cNvSpPr>
          <p:nvPr>
            <p:ph type="dt" sz="half" idx="10"/>
          </p:nvPr>
        </p:nvSpPr>
        <p:spPr/>
        <p:txBody>
          <a:bodyPr/>
          <a:lstStyle/>
          <a:p>
            <a:fld id="{305C5B46-50D6-4BDC-8269-0748A33B3637}" type="datetimeFigureOut">
              <a:rPr lang="en-NZ" smtClean="0"/>
              <a:t>8/07/2018</a:t>
            </a:fld>
            <a:endParaRPr lang="en-NZ"/>
          </a:p>
        </p:txBody>
      </p:sp>
      <p:sp>
        <p:nvSpPr>
          <p:cNvPr id="5" name="Footer Placeholder 4"/>
          <p:cNvSpPr>
            <a:spLocks noGrp="1"/>
          </p:cNvSpPr>
          <p:nvPr>
            <p:ph type="ftr" sz="quarter" idx="11"/>
          </p:nvPr>
        </p:nvSpPr>
        <p:spPr/>
        <p:txBody>
          <a:bodyPr/>
          <a:lstStyle/>
          <a:p>
            <a:endParaRPr lang="en-NZ"/>
          </a:p>
        </p:txBody>
      </p:sp>
      <p:sp>
        <p:nvSpPr>
          <p:cNvPr id="6" name="Slide Number Placeholder 5"/>
          <p:cNvSpPr>
            <a:spLocks noGrp="1"/>
          </p:cNvSpPr>
          <p:nvPr>
            <p:ph type="sldNum" sz="quarter" idx="12"/>
          </p:nvPr>
        </p:nvSpPr>
        <p:spPr/>
        <p:txBody>
          <a:bodyPr/>
          <a:lstStyle/>
          <a:p>
            <a:fld id="{BAE2F85E-8E40-487D-BF48-59266CEABFD7}" type="slidenum">
              <a:rPr lang="en-NZ" smtClean="0"/>
              <a:t>‹#›</a:t>
            </a:fld>
            <a:endParaRPr lang="en-NZ"/>
          </a:p>
        </p:txBody>
      </p:sp>
    </p:spTree>
    <p:extLst>
      <p:ext uri="{BB962C8B-B14F-4D97-AF65-F5344CB8AC3E}">
        <p14:creationId xmlns:p14="http://schemas.microsoft.com/office/powerpoint/2010/main" val="25294874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a:t>Click to edit Master title style</a:t>
            </a:r>
            <a:endParaRPr lang="en-NZ"/>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305C5B46-50D6-4BDC-8269-0748A33B3637}" type="datetimeFigureOut">
              <a:rPr lang="en-NZ" smtClean="0"/>
              <a:t>8/07/2018</a:t>
            </a:fld>
            <a:endParaRPr lang="en-NZ"/>
          </a:p>
        </p:txBody>
      </p:sp>
      <p:sp>
        <p:nvSpPr>
          <p:cNvPr id="5" name="Footer Placeholder 4"/>
          <p:cNvSpPr>
            <a:spLocks noGrp="1"/>
          </p:cNvSpPr>
          <p:nvPr>
            <p:ph type="ftr" sz="quarter" idx="11"/>
          </p:nvPr>
        </p:nvSpPr>
        <p:spPr/>
        <p:txBody>
          <a:bodyPr/>
          <a:lstStyle/>
          <a:p>
            <a:endParaRPr lang="en-NZ"/>
          </a:p>
        </p:txBody>
      </p:sp>
      <p:sp>
        <p:nvSpPr>
          <p:cNvPr id="6" name="Slide Number Placeholder 5"/>
          <p:cNvSpPr>
            <a:spLocks noGrp="1"/>
          </p:cNvSpPr>
          <p:nvPr>
            <p:ph type="sldNum" sz="quarter" idx="12"/>
          </p:nvPr>
        </p:nvSpPr>
        <p:spPr/>
        <p:txBody>
          <a:bodyPr/>
          <a:lstStyle/>
          <a:p>
            <a:fld id="{BAE2F85E-8E40-487D-BF48-59266CEABFD7}" type="slidenum">
              <a:rPr lang="en-NZ" smtClean="0"/>
              <a:t>‹#›</a:t>
            </a:fld>
            <a:endParaRPr lang="en-NZ"/>
          </a:p>
        </p:txBody>
      </p:sp>
    </p:spTree>
    <p:extLst>
      <p:ext uri="{BB962C8B-B14F-4D97-AF65-F5344CB8AC3E}">
        <p14:creationId xmlns:p14="http://schemas.microsoft.com/office/powerpoint/2010/main" val="14597808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NZ"/>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NZ"/>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NZ"/>
          </a:p>
        </p:txBody>
      </p:sp>
      <p:sp>
        <p:nvSpPr>
          <p:cNvPr id="5" name="Date Placeholder 4"/>
          <p:cNvSpPr>
            <a:spLocks noGrp="1"/>
          </p:cNvSpPr>
          <p:nvPr>
            <p:ph type="dt" sz="half" idx="10"/>
          </p:nvPr>
        </p:nvSpPr>
        <p:spPr/>
        <p:txBody>
          <a:bodyPr/>
          <a:lstStyle/>
          <a:p>
            <a:fld id="{305C5B46-50D6-4BDC-8269-0748A33B3637}" type="datetimeFigureOut">
              <a:rPr lang="en-NZ" smtClean="0"/>
              <a:t>8/07/2018</a:t>
            </a:fld>
            <a:endParaRPr lang="en-NZ"/>
          </a:p>
        </p:txBody>
      </p:sp>
      <p:sp>
        <p:nvSpPr>
          <p:cNvPr id="6" name="Footer Placeholder 5"/>
          <p:cNvSpPr>
            <a:spLocks noGrp="1"/>
          </p:cNvSpPr>
          <p:nvPr>
            <p:ph type="ftr" sz="quarter" idx="11"/>
          </p:nvPr>
        </p:nvSpPr>
        <p:spPr/>
        <p:txBody>
          <a:bodyPr/>
          <a:lstStyle/>
          <a:p>
            <a:endParaRPr lang="en-NZ"/>
          </a:p>
        </p:txBody>
      </p:sp>
      <p:sp>
        <p:nvSpPr>
          <p:cNvPr id="7" name="Slide Number Placeholder 6"/>
          <p:cNvSpPr>
            <a:spLocks noGrp="1"/>
          </p:cNvSpPr>
          <p:nvPr>
            <p:ph type="sldNum" sz="quarter" idx="12"/>
          </p:nvPr>
        </p:nvSpPr>
        <p:spPr/>
        <p:txBody>
          <a:bodyPr/>
          <a:lstStyle/>
          <a:p>
            <a:fld id="{BAE2F85E-8E40-487D-BF48-59266CEABFD7}" type="slidenum">
              <a:rPr lang="en-NZ" smtClean="0"/>
              <a:t>‹#›</a:t>
            </a:fld>
            <a:endParaRPr lang="en-NZ"/>
          </a:p>
        </p:txBody>
      </p:sp>
    </p:spTree>
    <p:extLst>
      <p:ext uri="{BB962C8B-B14F-4D97-AF65-F5344CB8AC3E}">
        <p14:creationId xmlns:p14="http://schemas.microsoft.com/office/powerpoint/2010/main" val="313700781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endParaRPr lang="en-NZ"/>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NZ"/>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NZ"/>
          </a:p>
        </p:txBody>
      </p:sp>
      <p:sp>
        <p:nvSpPr>
          <p:cNvPr id="7" name="Date Placeholder 6"/>
          <p:cNvSpPr>
            <a:spLocks noGrp="1"/>
          </p:cNvSpPr>
          <p:nvPr>
            <p:ph type="dt" sz="half" idx="10"/>
          </p:nvPr>
        </p:nvSpPr>
        <p:spPr/>
        <p:txBody>
          <a:bodyPr/>
          <a:lstStyle/>
          <a:p>
            <a:fld id="{305C5B46-50D6-4BDC-8269-0748A33B3637}" type="datetimeFigureOut">
              <a:rPr lang="en-NZ" smtClean="0"/>
              <a:t>8/07/2018</a:t>
            </a:fld>
            <a:endParaRPr lang="en-NZ"/>
          </a:p>
        </p:txBody>
      </p:sp>
      <p:sp>
        <p:nvSpPr>
          <p:cNvPr id="8" name="Footer Placeholder 7"/>
          <p:cNvSpPr>
            <a:spLocks noGrp="1"/>
          </p:cNvSpPr>
          <p:nvPr>
            <p:ph type="ftr" sz="quarter" idx="11"/>
          </p:nvPr>
        </p:nvSpPr>
        <p:spPr/>
        <p:txBody>
          <a:bodyPr/>
          <a:lstStyle/>
          <a:p>
            <a:endParaRPr lang="en-NZ"/>
          </a:p>
        </p:txBody>
      </p:sp>
      <p:sp>
        <p:nvSpPr>
          <p:cNvPr id="9" name="Slide Number Placeholder 8"/>
          <p:cNvSpPr>
            <a:spLocks noGrp="1"/>
          </p:cNvSpPr>
          <p:nvPr>
            <p:ph type="sldNum" sz="quarter" idx="12"/>
          </p:nvPr>
        </p:nvSpPr>
        <p:spPr/>
        <p:txBody>
          <a:bodyPr/>
          <a:lstStyle/>
          <a:p>
            <a:fld id="{BAE2F85E-8E40-487D-BF48-59266CEABFD7}" type="slidenum">
              <a:rPr lang="en-NZ" smtClean="0"/>
              <a:t>‹#›</a:t>
            </a:fld>
            <a:endParaRPr lang="en-NZ"/>
          </a:p>
        </p:txBody>
      </p:sp>
    </p:spTree>
    <p:extLst>
      <p:ext uri="{BB962C8B-B14F-4D97-AF65-F5344CB8AC3E}">
        <p14:creationId xmlns:p14="http://schemas.microsoft.com/office/powerpoint/2010/main" val="237032946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NZ"/>
          </a:p>
        </p:txBody>
      </p:sp>
      <p:sp>
        <p:nvSpPr>
          <p:cNvPr id="3" name="Date Placeholder 2"/>
          <p:cNvSpPr>
            <a:spLocks noGrp="1"/>
          </p:cNvSpPr>
          <p:nvPr>
            <p:ph type="dt" sz="half" idx="10"/>
          </p:nvPr>
        </p:nvSpPr>
        <p:spPr/>
        <p:txBody>
          <a:bodyPr/>
          <a:lstStyle/>
          <a:p>
            <a:fld id="{305C5B46-50D6-4BDC-8269-0748A33B3637}" type="datetimeFigureOut">
              <a:rPr lang="en-NZ" smtClean="0"/>
              <a:t>8/07/2018</a:t>
            </a:fld>
            <a:endParaRPr lang="en-NZ"/>
          </a:p>
        </p:txBody>
      </p:sp>
      <p:sp>
        <p:nvSpPr>
          <p:cNvPr id="4" name="Footer Placeholder 3"/>
          <p:cNvSpPr>
            <a:spLocks noGrp="1"/>
          </p:cNvSpPr>
          <p:nvPr>
            <p:ph type="ftr" sz="quarter" idx="11"/>
          </p:nvPr>
        </p:nvSpPr>
        <p:spPr/>
        <p:txBody>
          <a:bodyPr/>
          <a:lstStyle/>
          <a:p>
            <a:endParaRPr lang="en-NZ"/>
          </a:p>
        </p:txBody>
      </p:sp>
      <p:sp>
        <p:nvSpPr>
          <p:cNvPr id="5" name="Slide Number Placeholder 4"/>
          <p:cNvSpPr>
            <a:spLocks noGrp="1"/>
          </p:cNvSpPr>
          <p:nvPr>
            <p:ph type="sldNum" sz="quarter" idx="12"/>
          </p:nvPr>
        </p:nvSpPr>
        <p:spPr/>
        <p:txBody>
          <a:bodyPr/>
          <a:lstStyle/>
          <a:p>
            <a:fld id="{BAE2F85E-8E40-487D-BF48-59266CEABFD7}" type="slidenum">
              <a:rPr lang="en-NZ" smtClean="0"/>
              <a:t>‹#›</a:t>
            </a:fld>
            <a:endParaRPr lang="en-NZ"/>
          </a:p>
        </p:txBody>
      </p:sp>
    </p:spTree>
    <p:extLst>
      <p:ext uri="{BB962C8B-B14F-4D97-AF65-F5344CB8AC3E}">
        <p14:creationId xmlns:p14="http://schemas.microsoft.com/office/powerpoint/2010/main" val="207686497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305C5B46-50D6-4BDC-8269-0748A33B3637}" type="datetimeFigureOut">
              <a:rPr lang="en-NZ" smtClean="0"/>
              <a:t>8/07/2018</a:t>
            </a:fld>
            <a:endParaRPr lang="en-NZ"/>
          </a:p>
        </p:txBody>
      </p:sp>
      <p:sp>
        <p:nvSpPr>
          <p:cNvPr id="3" name="Footer Placeholder 2"/>
          <p:cNvSpPr>
            <a:spLocks noGrp="1"/>
          </p:cNvSpPr>
          <p:nvPr>
            <p:ph type="ftr" sz="quarter" idx="11"/>
          </p:nvPr>
        </p:nvSpPr>
        <p:spPr/>
        <p:txBody>
          <a:bodyPr/>
          <a:lstStyle/>
          <a:p>
            <a:endParaRPr lang="en-NZ"/>
          </a:p>
        </p:txBody>
      </p:sp>
      <p:sp>
        <p:nvSpPr>
          <p:cNvPr id="4" name="Slide Number Placeholder 3"/>
          <p:cNvSpPr>
            <a:spLocks noGrp="1"/>
          </p:cNvSpPr>
          <p:nvPr>
            <p:ph type="sldNum" sz="quarter" idx="12"/>
          </p:nvPr>
        </p:nvSpPr>
        <p:spPr/>
        <p:txBody>
          <a:bodyPr/>
          <a:lstStyle/>
          <a:p>
            <a:fld id="{BAE2F85E-8E40-487D-BF48-59266CEABFD7}" type="slidenum">
              <a:rPr lang="en-NZ" smtClean="0"/>
              <a:t>‹#›</a:t>
            </a:fld>
            <a:endParaRPr lang="en-NZ"/>
          </a:p>
        </p:txBody>
      </p:sp>
    </p:spTree>
    <p:extLst>
      <p:ext uri="{BB962C8B-B14F-4D97-AF65-F5344CB8AC3E}">
        <p14:creationId xmlns:p14="http://schemas.microsoft.com/office/powerpoint/2010/main" val="64742811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a:t>Click to edit Master title style</a:t>
            </a:r>
            <a:endParaRPr lang="en-NZ"/>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NZ"/>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305C5B46-50D6-4BDC-8269-0748A33B3637}" type="datetimeFigureOut">
              <a:rPr lang="en-NZ" smtClean="0"/>
              <a:t>8/07/2018</a:t>
            </a:fld>
            <a:endParaRPr lang="en-NZ"/>
          </a:p>
        </p:txBody>
      </p:sp>
      <p:sp>
        <p:nvSpPr>
          <p:cNvPr id="6" name="Footer Placeholder 5"/>
          <p:cNvSpPr>
            <a:spLocks noGrp="1"/>
          </p:cNvSpPr>
          <p:nvPr>
            <p:ph type="ftr" sz="quarter" idx="11"/>
          </p:nvPr>
        </p:nvSpPr>
        <p:spPr/>
        <p:txBody>
          <a:bodyPr/>
          <a:lstStyle/>
          <a:p>
            <a:endParaRPr lang="en-NZ"/>
          </a:p>
        </p:txBody>
      </p:sp>
      <p:sp>
        <p:nvSpPr>
          <p:cNvPr id="7" name="Slide Number Placeholder 6"/>
          <p:cNvSpPr>
            <a:spLocks noGrp="1"/>
          </p:cNvSpPr>
          <p:nvPr>
            <p:ph type="sldNum" sz="quarter" idx="12"/>
          </p:nvPr>
        </p:nvSpPr>
        <p:spPr/>
        <p:txBody>
          <a:bodyPr/>
          <a:lstStyle/>
          <a:p>
            <a:fld id="{BAE2F85E-8E40-487D-BF48-59266CEABFD7}" type="slidenum">
              <a:rPr lang="en-NZ" smtClean="0"/>
              <a:t>‹#›</a:t>
            </a:fld>
            <a:endParaRPr lang="en-NZ"/>
          </a:p>
        </p:txBody>
      </p:sp>
    </p:spTree>
    <p:extLst>
      <p:ext uri="{BB962C8B-B14F-4D97-AF65-F5344CB8AC3E}">
        <p14:creationId xmlns:p14="http://schemas.microsoft.com/office/powerpoint/2010/main" val="360564416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a:t>Click to edit Master title style</a:t>
            </a:r>
            <a:endParaRPr lang="en-NZ"/>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NZ"/>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305C5B46-50D6-4BDC-8269-0748A33B3637}" type="datetimeFigureOut">
              <a:rPr lang="en-NZ" smtClean="0"/>
              <a:t>8/07/2018</a:t>
            </a:fld>
            <a:endParaRPr lang="en-NZ"/>
          </a:p>
        </p:txBody>
      </p:sp>
      <p:sp>
        <p:nvSpPr>
          <p:cNvPr id="6" name="Footer Placeholder 5"/>
          <p:cNvSpPr>
            <a:spLocks noGrp="1"/>
          </p:cNvSpPr>
          <p:nvPr>
            <p:ph type="ftr" sz="quarter" idx="11"/>
          </p:nvPr>
        </p:nvSpPr>
        <p:spPr/>
        <p:txBody>
          <a:bodyPr/>
          <a:lstStyle/>
          <a:p>
            <a:endParaRPr lang="en-NZ"/>
          </a:p>
        </p:txBody>
      </p:sp>
      <p:sp>
        <p:nvSpPr>
          <p:cNvPr id="7" name="Slide Number Placeholder 6"/>
          <p:cNvSpPr>
            <a:spLocks noGrp="1"/>
          </p:cNvSpPr>
          <p:nvPr>
            <p:ph type="sldNum" sz="quarter" idx="12"/>
          </p:nvPr>
        </p:nvSpPr>
        <p:spPr/>
        <p:txBody>
          <a:bodyPr/>
          <a:lstStyle/>
          <a:p>
            <a:fld id="{BAE2F85E-8E40-487D-BF48-59266CEABFD7}" type="slidenum">
              <a:rPr lang="en-NZ" smtClean="0"/>
              <a:t>‹#›</a:t>
            </a:fld>
            <a:endParaRPr lang="en-NZ"/>
          </a:p>
        </p:txBody>
      </p:sp>
    </p:spTree>
    <p:extLst>
      <p:ext uri="{BB962C8B-B14F-4D97-AF65-F5344CB8AC3E}">
        <p14:creationId xmlns:p14="http://schemas.microsoft.com/office/powerpoint/2010/main" val="314254581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a:t>Click to edit Master title style</a:t>
            </a:r>
            <a:endParaRPr lang="en-NZ"/>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NZ"/>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305C5B46-50D6-4BDC-8269-0748A33B3637}" type="datetimeFigureOut">
              <a:rPr lang="en-NZ" smtClean="0"/>
              <a:t>8/07/2018</a:t>
            </a:fld>
            <a:endParaRPr lang="en-NZ"/>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NZ"/>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BAE2F85E-8E40-487D-BF48-59266CEABFD7}" type="slidenum">
              <a:rPr lang="en-NZ" smtClean="0"/>
              <a:t>‹#›</a:t>
            </a:fld>
            <a:endParaRPr lang="en-NZ"/>
          </a:p>
        </p:txBody>
      </p:sp>
    </p:spTree>
    <p:extLst>
      <p:ext uri="{BB962C8B-B14F-4D97-AF65-F5344CB8AC3E}">
        <p14:creationId xmlns:p14="http://schemas.microsoft.com/office/powerpoint/2010/main" val="1577243039"/>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jpeg"/><Relationship Id="rId2" Type="http://schemas.openxmlformats.org/officeDocument/2006/relationships/hyperlink" Target="http://www.google.co.nz/url?sa=i&amp;rct=j&amp;q=&amp;esrc=s&amp;source=images&amp;cd=&amp;ved=0ahUKEwjIi7rKmYvMAhXCpZQKHcCeDUgQjRwIBQ&amp;url=http://www.softball.org.nz/site/softballnz/files/SNZ%20Umpires/UMPIRE%20REPORTS/2009_Gilley's_Shield_Australia_Porteous_Mark_22122009.pdf&amp;bvm=bv.119408272,d.amc&amp;psig=AFQjCNEL0dX08WtsC7pTf9ooGyhj7ZvrVQ&amp;ust=1460622544197806&amp;cad=rjt" TargetMode="External"/><Relationship Id="rId1" Type="http://schemas.openxmlformats.org/officeDocument/2006/relationships/slideLayout" Target="../slideLayouts/slideLayout2.xml"/><Relationship Id="rId5" Type="http://schemas.openxmlformats.org/officeDocument/2006/relationships/image" Target="../media/image2.png"/><Relationship Id="rId4" Type="http://schemas.openxmlformats.org/officeDocument/2006/relationships/hyperlink" Target="http://www.google.co.nz/url?sa=i&amp;rct=j&amp;q=&amp;esrc=s&amp;source=images&amp;cd=&amp;cad=rja&amp;uact=8&amp;ved=0ahUKEwjomOful4vMAhWJsIMKHcVMCLAQjRwIAw&amp;url=http://www.softball.org.nz/&amp;psig=AFQjCNHQ5zNHGmjg6jdBK7lRIIKQWWCcrA&amp;ust=1460622205253694" TargetMode="External"/></Relationships>
</file>

<file path=ppt/slides/_rels/slide2.xml.rels><?xml version="1.0" encoding="UTF-8" standalone="yes"?>
<Relationships xmlns="http://schemas.openxmlformats.org/package/2006/relationships"><Relationship Id="rId8" Type="http://schemas.openxmlformats.org/officeDocument/2006/relationships/tags" Target="../tags/tag8.xml"/><Relationship Id="rId13" Type="http://schemas.openxmlformats.org/officeDocument/2006/relationships/tags" Target="../tags/tag13.xml"/><Relationship Id="rId3" Type="http://schemas.openxmlformats.org/officeDocument/2006/relationships/tags" Target="../tags/tag3.xml"/><Relationship Id="rId7" Type="http://schemas.openxmlformats.org/officeDocument/2006/relationships/tags" Target="../tags/tag7.xml"/><Relationship Id="rId12" Type="http://schemas.openxmlformats.org/officeDocument/2006/relationships/tags" Target="../tags/tag12.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tags" Target="../tags/tag6.xml"/><Relationship Id="rId11" Type="http://schemas.openxmlformats.org/officeDocument/2006/relationships/tags" Target="../tags/tag11.xml"/><Relationship Id="rId5" Type="http://schemas.openxmlformats.org/officeDocument/2006/relationships/tags" Target="../tags/tag5.xml"/><Relationship Id="rId15" Type="http://schemas.openxmlformats.org/officeDocument/2006/relationships/notesSlide" Target="../notesSlides/notesSlide1.xml"/><Relationship Id="rId10" Type="http://schemas.openxmlformats.org/officeDocument/2006/relationships/tags" Target="../tags/tag10.xml"/><Relationship Id="rId4" Type="http://schemas.openxmlformats.org/officeDocument/2006/relationships/tags" Target="../tags/tag4.xml"/><Relationship Id="rId9" Type="http://schemas.openxmlformats.org/officeDocument/2006/relationships/tags" Target="../tags/tag9.xml"/><Relationship Id="rId14"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2.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116632"/>
            <a:ext cx="8229600" cy="1440160"/>
          </a:xfrm>
        </p:spPr>
        <p:txBody>
          <a:bodyPr>
            <a:normAutofit/>
          </a:bodyPr>
          <a:lstStyle/>
          <a:p>
            <a:r>
              <a:rPr lang="en-US" sz="3200" dirty="0">
                <a:effectLst>
                  <a:outerShdw blurRad="38100" dist="38100" dir="2700000" algn="tl">
                    <a:srgbClr val="000000">
                      <a:alpha val="43137"/>
                    </a:srgbClr>
                  </a:outerShdw>
                </a:effectLst>
              </a:rPr>
              <a:t>Softball New Zealand Umpires</a:t>
            </a:r>
            <a:br>
              <a:rPr lang="en-US" sz="3200" dirty="0">
                <a:effectLst>
                  <a:outerShdw blurRad="38100" dist="38100" dir="2700000" algn="tl">
                    <a:srgbClr val="000000">
                      <a:alpha val="43137"/>
                    </a:srgbClr>
                  </a:outerShdw>
                </a:effectLst>
              </a:rPr>
            </a:br>
            <a:r>
              <a:rPr lang="en-US" sz="3200" dirty="0">
                <a:effectLst>
                  <a:outerShdw blurRad="38100" dist="38100" dir="2700000" algn="tl">
                    <a:srgbClr val="000000">
                      <a:alpha val="43137"/>
                    </a:srgbClr>
                  </a:outerShdw>
                </a:effectLst>
              </a:rPr>
              <a:t>Strategic Plan 2016 – 2021</a:t>
            </a:r>
            <a:r>
              <a:rPr lang="en-US" sz="3200" dirty="0"/>
              <a:t>  </a:t>
            </a:r>
            <a:endParaRPr lang="en-NZ" sz="3200" dirty="0"/>
          </a:p>
        </p:txBody>
      </p:sp>
      <p:sp>
        <p:nvSpPr>
          <p:cNvPr id="3" name="Content Placeholder 2"/>
          <p:cNvSpPr>
            <a:spLocks noGrp="1"/>
          </p:cNvSpPr>
          <p:nvPr>
            <p:ph idx="1"/>
          </p:nvPr>
        </p:nvSpPr>
        <p:spPr/>
        <p:txBody>
          <a:bodyPr>
            <a:normAutofit fontScale="55000" lnSpcReduction="20000"/>
          </a:bodyPr>
          <a:lstStyle/>
          <a:p>
            <a:pPr marL="0" indent="0">
              <a:buNone/>
            </a:pPr>
            <a:endParaRPr lang="en-NZ" b="1" dirty="0"/>
          </a:p>
          <a:p>
            <a:pPr marL="0" indent="0">
              <a:buNone/>
            </a:pPr>
            <a:r>
              <a:rPr lang="en-NZ" b="1" dirty="0">
                <a:solidFill>
                  <a:srgbClr val="00B0F0"/>
                </a:solidFill>
              </a:rPr>
              <a:t>The Softball New Zealand Umpires </a:t>
            </a:r>
            <a:r>
              <a:rPr lang="en-NZ" dirty="0"/>
              <a:t>are the national convenor of officiating softball in New Zealand.  We work with Softball New Zealand and the World Baseball Softball Confederation (WBSC) – Softball Division in the development of the sport by delivering quality and professional umpiring to the softball community.  </a:t>
            </a:r>
          </a:p>
          <a:p>
            <a:pPr marL="0" indent="0">
              <a:buNone/>
            </a:pPr>
            <a:endParaRPr lang="en-NZ" dirty="0"/>
          </a:p>
          <a:p>
            <a:pPr marL="0" indent="0">
              <a:buNone/>
            </a:pPr>
            <a:r>
              <a:rPr lang="en-NZ" dirty="0"/>
              <a:t>We are a diverse group with over 200 active voluntary members officiating the sport at local, regional, national and international levels.  Our strategic plan is built upon delivering </a:t>
            </a:r>
            <a:r>
              <a:rPr lang="en-NZ" b="1" dirty="0">
                <a:solidFill>
                  <a:srgbClr val="00B0F0"/>
                </a:solidFill>
              </a:rPr>
              <a:t>quality</a:t>
            </a:r>
            <a:r>
              <a:rPr lang="en-NZ" b="1" dirty="0"/>
              <a:t> </a:t>
            </a:r>
            <a:r>
              <a:rPr lang="en-NZ" dirty="0"/>
              <a:t>umpiring beyond the expected standard, </a:t>
            </a:r>
            <a:r>
              <a:rPr lang="en-NZ" b="1" dirty="0">
                <a:solidFill>
                  <a:srgbClr val="00B0F0"/>
                </a:solidFill>
              </a:rPr>
              <a:t>growth</a:t>
            </a:r>
            <a:r>
              <a:rPr lang="en-NZ" b="1" dirty="0"/>
              <a:t> </a:t>
            </a:r>
            <a:r>
              <a:rPr lang="en-NZ" dirty="0"/>
              <a:t>of our umpiring family and striving for operational </a:t>
            </a:r>
            <a:r>
              <a:rPr lang="en-NZ" b="1" dirty="0">
                <a:solidFill>
                  <a:srgbClr val="00B0F0"/>
                </a:solidFill>
              </a:rPr>
              <a:t>excellence</a:t>
            </a:r>
            <a:r>
              <a:rPr lang="en-NZ" b="1" dirty="0"/>
              <a:t> </a:t>
            </a:r>
            <a:r>
              <a:rPr lang="en-NZ" dirty="0"/>
              <a:t>in our management systems.  </a:t>
            </a:r>
          </a:p>
          <a:p>
            <a:pPr marL="0" indent="0">
              <a:buNone/>
            </a:pPr>
            <a:endParaRPr lang="en-NZ" dirty="0"/>
          </a:p>
          <a:p>
            <a:pPr marL="0" indent="0">
              <a:buNone/>
            </a:pPr>
            <a:r>
              <a:rPr lang="en-NZ" dirty="0"/>
              <a:t>We are very excited about our future and the challenges that lay ahead as we look to build upon the umpiring successes of the past and share those experiences with the softball community to increase their knowledge of the game.</a:t>
            </a:r>
            <a:br>
              <a:rPr lang="en-NZ" dirty="0"/>
            </a:br>
            <a:endParaRPr lang="en-NZ" dirty="0"/>
          </a:p>
          <a:p>
            <a:pPr marL="0" indent="0" algn="ctr">
              <a:buNone/>
            </a:pPr>
            <a:r>
              <a:rPr lang="en-US" b="1" i="1" dirty="0"/>
              <a:t>‘E hara </a:t>
            </a:r>
            <a:r>
              <a:rPr lang="en-US" b="1" i="1" dirty="0" err="1"/>
              <a:t>taku</a:t>
            </a:r>
            <a:r>
              <a:rPr lang="en-US" b="1" i="1" dirty="0"/>
              <a:t> </a:t>
            </a:r>
            <a:r>
              <a:rPr lang="en-US" b="1" i="1" dirty="0" err="1"/>
              <a:t>toa</a:t>
            </a:r>
            <a:r>
              <a:rPr lang="en-US" b="1" i="1" dirty="0"/>
              <a:t> I te </a:t>
            </a:r>
            <a:r>
              <a:rPr lang="en-US" b="1" i="1" dirty="0" err="1"/>
              <a:t>toa</a:t>
            </a:r>
            <a:r>
              <a:rPr lang="en-US" b="1" i="1" dirty="0"/>
              <a:t> </a:t>
            </a:r>
            <a:r>
              <a:rPr lang="en-US" b="1" i="1" dirty="0" err="1"/>
              <a:t>taki</a:t>
            </a:r>
            <a:r>
              <a:rPr lang="en-US" b="1" i="1" dirty="0"/>
              <a:t> </a:t>
            </a:r>
            <a:r>
              <a:rPr lang="en-US" b="1" i="1" dirty="0" err="1"/>
              <a:t>tahi</a:t>
            </a:r>
            <a:r>
              <a:rPr lang="en-US" b="1" i="1" dirty="0"/>
              <a:t>, </a:t>
            </a:r>
            <a:r>
              <a:rPr lang="en-US" b="1" i="1" dirty="0" err="1"/>
              <a:t>taku</a:t>
            </a:r>
            <a:r>
              <a:rPr lang="en-US" b="1" i="1" dirty="0"/>
              <a:t> </a:t>
            </a:r>
            <a:r>
              <a:rPr lang="en-US" b="1" i="1" dirty="0" err="1"/>
              <a:t>toa</a:t>
            </a:r>
            <a:r>
              <a:rPr lang="en-US" b="1" i="1" dirty="0"/>
              <a:t>, he </a:t>
            </a:r>
            <a:r>
              <a:rPr lang="en-US" b="1" i="1" dirty="0" err="1"/>
              <a:t>toa</a:t>
            </a:r>
            <a:r>
              <a:rPr lang="en-US" b="1" i="1" dirty="0"/>
              <a:t> </a:t>
            </a:r>
            <a:r>
              <a:rPr lang="en-US" b="1" i="1" dirty="0" err="1"/>
              <a:t>taki</a:t>
            </a:r>
            <a:r>
              <a:rPr lang="en-US" b="1" i="1" dirty="0"/>
              <a:t> </a:t>
            </a:r>
            <a:r>
              <a:rPr lang="en-US" b="1" i="1" dirty="0" err="1"/>
              <a:t>tini</a:t>
            </a:r>
            <a:r>
              <a:rPr lang="en-US" b="1" i="1" dirty="0"/>
              <a:t>’  </a:t>
            </a:r>
            <a:br>
              <a:rPr lang="en-US" b="1" i="1" dirty="0"/>
            </a:br>
            <a:r>
              <a:rPr lang="en-US" b="1" i="1" dirty="0"/>
              <a:t>‘My strength is not that of one person, but the strength of many’</a:t>
            </a:r>
          </a:p>
        </p:txBody>
      </p:sp>
      <p:pic>
        <p:nvPicPr>
          <p:cNvPr id="4" name="Picture 3" descr="https://encrypted-tbn2.gstatic.com/images?q=tbn:ANd9GcSuQ2FzhRsk2D9ngMnwqNP9zoCDr314UuRynujiZBfMaSMv42Yphg">
            <a:hlinkClick r:id="rId2" tgtFrame="&quot;_blank&quot;"/>
          </p:cNvPr>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55576" y="476672"/>
            <a:ext cx="1152128" cy="766261"/>
          </a:xfrm>
          <a:prstGeom prst="rect">
            <a:avLst/>
          </a:prstGeom>
          <a:noFill/>
          <a:ln>
            <a:noFill/>
          </a:ln>
        </p:spPr>
      </p:pic>
      <p:pic>
        <p:nvPicPr>
          <p:cNvPr id="5" name="Picture 4" descr="https://encrypted-tbn3.gstatic.com/images?q=tbn:ANd9GcRId4122y9GuEmdcL03vnXb-Jl9kgmb3Ik_0YYjAAjdXxGqiIhc-yn2Rj0">
            <a:hlinkClick r:id="rId4"/>
          </p:cNvPr>
          <p:cNvPicPr/>
          <p:nvPr/>
        </p:nvPicPr>
        <p:blipFill>
          <a:blip r:embed="rId5">
            <a:extLst>
              <a:ext uri="{28A0092B-C50C-407E-A947-70E740481C1C}">
                <a14:useLocalDpi xmlns:a14="http://schemas.microsoft.com/office/drawing/2010/main" val="0"/>
              </a:ext>
            </a:extLst>
          </a:blip>
          <a:srcRect/>
          <a:stretch>
            <a:fillRect/>
          </a:stretch>
        </p:blipFill>
        <p:spPr bwMode="auto">
          <a:xfrm>
            <a:off x="7386240" y="476672"/>
            <a:ext cx="714152" cy="772973"/>
          </a:xfrm>
          <a:prstGeom prst="rect">
            <a:avLst/>
          </a:prstGeom>
          <a:noFill/>
          <a:ln>
            <a:noFill/>
          </a:ln>
        </p:spPr>
      </p:pic>
    </p:spTree>
    <p:extLst>
      <p:ext uri="{BB962C8B-B14F-4D97-AF65-F5344CB8AC3E}">
        <p14:creationId xmlns:p14="http://schemas.microsoft.com/office/powerpoint/2010/main" val="271809293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p:cNvSpPr txBox="1">
            <a:spLocks/>
          </p:cNvSpPr>
          <p:nvPr/>
        </p:nvSpPr>
        <p:spPr>
          <a:xfrm>
            <a:off x="550273" y="3"/>
            <a:ext cx="7886700" cy="265281"/>
          </a:xfrm>
          <a:prstGeom prst="rect">
            <a:avLst/>
          </a:prstGeom>
        </p:spPr>
        <p:txBody>
          <a:bodyPr vert="horz" lIns="65306" tIns="32653" rIns="65306" bIns="32653" rtlCol="0" anchor="b">
            <a:normAutofit/>
          </a:bodyPr>
          <a:lstStyle>
            <a:lvl1pPr algn="ctr" defTabSz="1280160" rtl="0" eaLnBrk="1" latinLnBrk="0" hangingPunct="1">
              <a:lnSpc>
                <a:spcPct val="90000"/>
              </a:lnSpc>
              <a:spcBef>
                <a:spcPct val="0"/>
              </a:spcBef>
              <a:buNone/>
              <a:defRPr sz="8400" kern="1200">
                <a:solidFill>
                  <a:schemeClr val="tx1"/>
                </a:solidFill>
                <a:latin typeface="+mj-lt"/>
                <a:ea typeface="+mj-ea"/>
                <a:cs typeface="+mj-cs"/>
              </a:defRPr>
            </a:lvl1pPr>
          </a:lstStyle>
          <a:p>
            <a:r>
              <a:rPr lang="en-NZ" sz="1400" b="1" dirty="0"/>
              <a:t>Softball New Zealand Umpires – Strategic Plan 2016 - 2021</a:t>
            </a:r>
          </a:p>
        </p:txBody>
      </p:sp>
      <p:graphicFrame>
        <p:nvGraphicFramePr>
          <p:cNvPr id="7" name="Table 6"/>
          <p:cNvGraphicFramePr>
            <a:graphicFrameLocks noGrp="1"/>
          </p:cNvGraphicFramePr>
          <p:nvPr>
            <p:extLst>
              <p:ext uri="{D42A27DB-BD31-4B8C-83A1-F6EECF244321}">
                <p14:modId xmlns:p14="http://schemas.microsoft.com/office/powerpoint/2010/main" val="1429964040"/>
              </p:ext>
            </p:extLst>
          </p:nvPr>
        </p:nvGraphicFramePr>
        <p:xfrm>
          <a:off x="107504" y="1633608"/>
          <a:ext cx="8928992" cy="1639774"/>
        </p:xfrm>
        <a:graphic>
          <a:graphicData uri="http://schemas.openxmlformats.org/drawingml/2006/table">
            <a:tbl>
              <a:tblPr firstRow="1" bandRow="1">
                <a:tableStyleId>{5C22544A-7EE6-4342-B048-85BDC9FD1C3A}</a:tableStyleId>
              </a:tblPr>
              <a:tblGrid>
                <a:gridCol w="2232248">
                  <a:extLst>
                    <a:ext uri="{9D8B030D-6E8A-4147-A177-3AD203B41FA5}">
                      <a16:colId xmlns:a16="http://schemas.microsoft.com/office/drawing/2014/main" val="20000"/>
                    </a:ext>
                  </a:extLst>
                </a:gridCol>
                <a:gridCol w="2232248">
                  <a:extLst>
                    <a:ext uri="{9D8B030D-6E8A-4147-A177-3AD203B41FA5}">
                      <a16:colId xmlns:a16="http://schemas.microsoft.com/office/drawing/2014/main" val="20001"/>
                    </a:ext>
                  </a:extLst>
                </a:gridCol>
                <a:gridCol w="2232248">
                  <a:extLst>
                    <a:ext uri="{9D8B030D-6E8A-4147-A177-3AD203B41FA5}">
                      <a16:colId xmlns:a16="http://schemas.microsoft.com/office/drawing/2014/main" val="20002"/>
                    </a:ext>
                  </a:extLst>
                </a:gridCol>
                <a:gridCol w="2232248">
                  <a:extLst>
                    <a:ext uri="{9D8B030D-6E8A-4147-A177-3AD203B41FA5}">
                      <a16:colId xmlns:a16="http://schemas.microsoft.com/office/drawing/2014/main" val="20003"/>
                    </a:ext>
                  </a:extLst>
                </a:gridCol>
              </a:tblGrid>
              <a:tr h="250981">
                <a:tc gridSpan="4">
                  <a:txBody>
                    <a:bodyPr/>
                    <a:lstStyle/>
                    <a:p>
                      <a:pPr algn="ctr"/>
                      <a:r>
                        <a:rPr lang="en-NZ" sz="1000" dirty="0"/>
                        <a:t>Strategic Outcomes</a:t>
                      </a:r>
                    </a:p>
                  </a:txBody>
                  <a:tcPr marL="65314" marR="65314" marT="32657" marB="32657"/>
                </a:tc>
                <a:tc hMerge="1">
                  <a:txBody>
                    <a:bodyPr/>
                    <a:lstStyle/>
                    <a:p>
                      <a:endParaRPr lang="en-NZ" dirty="0"/>
                    </a:p>
                  </a:txBody>
                  <a:tcPr/>
                </a:tc>
                <a:tc hMerge="1">
                  <a:txBody>
                    <a:bodyPr/>
                    <a:lstStyle/>
                    <a:p>
                      <a:endParaRPr lang="en-NZ"/>
                    </a:p>
                  </a:txBody>
                  <a:tcPr/>
                </a:tc>
                <a:tc hMerge="1">
                  <a:txBody>
                    <a:bodyPr/>
                    <a:lstStyle/>
                    <a:p>
                      <a:endParaRPr lang="en-NZ" dirty="0"/>
                    </a:p>
                  </a:txBody>
                  <a:tcPr/>
                </a:tc>
                <a:extLst>
                  <a:ext uri="{0D108BD9-81ED-4DB2-BD59-A6C34878D82A}">
                    <a16:rowId xmlns:a16="http://schemas.microsoft.com/office/drawing/2014/main" val="10000"/>
                  </a:ext>
                </a:extLst>
              </a:tr>
              <a:tr h="218621">
                <a:tc>
                  <a:txBody>
                    <a:bodyPr/>
                    <a:lstStyle/>
                    <a:p>
                      <a:pPr algn="ctr"/>
                      <a:r>
                        <a:rPr lang="en-NZ" sz="1000" b="1" dirty="0"/>
                        <a:t>Pathways</a:t>
                      </a:r>
                    </a:p>
                  </a:txBody>
                  <a:tcPr marL="65314" marR="65314" marT="32657" marB="32657"/>
                </a:tc>
                <a:tc>
                  <a:txBody>
                    <a:bodyPr/>
                    <a:lstStyle/>
                    <a:p>
                      <a:pPr algn="ctr"/>
                      <a:r>
                        <a:rPr lang="en-NZ" sz="1000" b="1" dirty="0"/>
                        <a:t>Recruitment &amp; retention</a:t>
                      </a:r>
                    </a:p>
                  </a:txBody>
                  <a:tcPr marL="65314" marR="65314" marT="32657" marB="32657"/>
                </a:tc>
                <a:tc>
                  <a:txBody>
                    <a:bodyPr/>
                    <a:lstStyle/>
                    <a:p>
                      <a:pPr algn="ctr"/>
                      <a:r>
                        <a:rPr lang="en-NZ" sz="1000" b="1" dirty="0"/>
                        <a:t>Training</a:t>
                      </a:r>
                      <a:r>
                        <a:rPr lang="en-NZ" sz="1000" b="1" baseline="0" dirty="0"/>
                        <a:t> &amp; Development</a:t>
                      </a:r>
                      <a:endParaRPr lang="en-NZ" sz="1000" b="1" dirty="0"/>
                    </a:p>
                  </a:txBody>
                  <a:tcPr marL="65314" marR="65314" marT="32657" marB="32657"/>
                </a:tc>
                <a:tc>
                  <a:txBody>
                    <a:bodyPr/>
                    <a:lstStyle/>
                    <a:p>
                      <a:pPr algn="ctr"/>
                      <a:r>
                        <a:rPr lang="en-NZ" sz="1000" b="1" dirty="0"/>
                        <a:t>Operational Excellence</a:t>
                      </a:r>
                    </a:p>
                  </a:txBody>
                  <a:tcPr marL="65314" marR="65314" marT="32657" marB="32657"/>
                </a:tc>
                <a:extLst>
                  <a:ext uri="{0D108BD9-81ED-4DB2-BD59-A6C34878D82A}">
                    <a16:rowId xmlns:a16="http://schemas.microsoft.com/office/drawing/2014/main" val="10001"/>
                  </a:ext>
                </a:extLst>
              </a:tr>
              <a:tr h="461694">
                <a:tc>
                  <a:txBody>
                    <a:bodyPr/>
                    <a:lstStyle/>
                    <a:p>
                      <a:r>
                        <a:rPr lang="en-NZ" sz="850" i="0" baseline="0" dirty="0"/>
                        <a:t>There is a progressive pathway that enables consistency and quality in delivery.</a:t>
                      </a:r>
                    </a:p>
                  </a:txBody>
                  <a:tcPr marL="65314" marR="65314" marT="32657" marB="32657"/>
                </a:tc>
                <a:tc>
                  <a:txBody>
                    <a:bodyPr/>
                    <a:lstStyle/>
                    <a:p>
                      <a:pPr marL="0" marR="0" indent="0" algn="l" defTabSz="1280160" rtl="0" eaLnBrk="1" fontAlgn="auto" latinLnBrk="0" hangingPunct="1">
                        <a:lnSpc>
                          <a:spcPct val="100000"/>
                        </a:lnSpc>
                        <a:spcBef>
                          <a:spcPts val="0"/>
                        </a:spcBef>
                        <a:spcAft>
                          <a:spcPts val="0"/>
                        </a:spcAft>
                        <a:buClrTx/>
                        <a:buSzTx/>
                        <a:buFontTx/>
                        <a:buNone/>
                        <a:tabLst/>
                        <a:defRPr/>
                      </a:pPr>
                      <a:r>
                        <a:rPr lang="en-NZ" sz="850" i="0" kern="1200" baseline="0" dirty="0">
                          <a:solidFill>
                            <a:schemeClr val="dk1"/>
                          </a:solidFill>
                          <a:latin typeface="+mn-lt"/>
                          <a:ea typeface="+mn-ea"/>
                          <a:cs typeface="+mn-cs"/>
                        </a:rPr>
                        <a:t>Umpires deliver officiating requirements at a local, regional, national and international level.</a:t>
                      </a:r>
                    </a:p>
                  </a:txBody>
                  <a:tcPr marL="65314" marR="65314" marT="32657" marB="32657"/>
                </a:tc>
                <a:tc>
                  <a:txBody>
                    <a:bodyPr/>
                    <a:lstStyle/>
                    <a:p>
                      <a:pPr marL="0" marR="0" indent="0" algn="l" defTabSz="1280160" rtl="0" eaLnBrk="1" fontAlgn="auto" latinLnBrk="0" hangingPunct="1">
                        <a:lnSpc>
                          <a:spcPct val="100000"/>
                        </a:lnSpc>
                        <a:spcBef>
                          <a:spcPts val="0"/>
                        </a:spcBef>
                        <a:spcAft>
                          <a:spcPts val="0"/>
                        </a:spcAft>
                        <a:buClrTx/>
                        <a:buSzTx/>
                        <a:buFontTx/>
                        <a:buNone/>
                        <a:tabLst/>
                        <a:defRPr/>
                      </a:pPr>
                      <a:r>
                        <a:rPr lang="en-NZ" sz="850" i="0" kern="1200" baseline="0" dirty="0">
                          <a:solidFill>
                            <a:schemeClr val="dk1"/>
                          </a:solidFill>
                          <a:latin typeface="+mn-lt"/>
                          <a:ea typeface="+mn-ea"/>
                          <a:cs typeface="+mn-cs"/>
                        </a:rPr>
                        <a:t>Umpires increase their knowledge and experience and deliver beyond the expected standard. </a:t>
                      </a:r>
                    </a:p>
                  </a:txBody>
                  <a:tcPr marL="65314" marR="65314" marT="32657" marB="32657"/>
                </a:tc>
                <a:tc>
                  <a:txBody>
                    <a:bodyPr/>
                    <a:lstStyle/>
                    <a:p>
                      <a:r>
                        <a:rPr lang="en-NZ" sz="850" i="0" kern="1200" baseline="0" dirty="0">
                          <a:solidFill>
                            <a:schemeClr val="dk1"/>
                          </a:solidFill>
                          <a:latin typeface="+mn-lt"/>
                          <a:ea typeface="+mn-ea"/>
                          <a:cs typeface="+mn-cs"/>
                        </a:rPr>
                        <a:t>Appropriate management systems enables the organisation to operate efficiently and communicate effectively.   </a:t>
                      </a:r>
                    </a:p>
                  </a:txBody>
                  <a:tcPr marL="65314" marR="65314" marT="32657" marB="32657"/>
                </a:tc>
                <a:extLst>
                  <a:ext uri="{0D108BD9-81ED-4DB2-BD59-A6C34878D82A}">
                    <a16:rowId xmlns:a16="http://schemas.microsoft.com/office/drawing/2014/main" val="10002"/>
                  </a:ext>
                </a:extLst>
              </a:tr>
              <a:tr h="218621">
                <a:tc gridSpan="4">
                  <a:txBody>
                    <a:bodyPr/>
                    <a:lstStyle/>
                    <a:p>
                      <a:pPr marL="0" marR="0" indent="0" algn="ctr" defTabSz="1280160" rtl="0" eaLnBrk="1" fontAlgn="auto" latinLnBrk="0" hangingPunct="1">
                        <a:lnSpc>
                          <a:spcPct val="100000"/>
                        </a:lnSpc>
                        <a:spcBef>
                          <a:spcPts val="0"/>
                        </a:spcBef>
                        <a:spcAft>
                          <a:spcPts val="0"/>
                        </a:spcAft>
                        <a:buClrTx/>
                        <a:buSzTx/>
                        <a:buFontTx/>
                        <a:buNone/>
                        <a:tabLst/>
                        <a:defRPr/>
                      </a:pPr>
                      <a:r>
                        <a:rPr lang="en-NZ" sz="1000" b="1" dirty="0">
                          <a:solidFill>
                            <a:schemeClr val="bg1"/>
                          </a:solidFill>
                        </a:rPr>
                        <a:t>Measures</a:t>
                      </a:r>
                    </a:p>
                  </a:txBody>
                  <a:tcPr marL="65314" marR="65314" marT="32657" marB="32657">
                    <a:solidFill>
                      <a:schemeClr val="accent1"/>
                    </a:solidFill>
                  </a:tcPr>
                </a:tc>
                <a:tc hMerge="1">
                  <a:txBody>
                    <a:bodyPr/>
                    <a:lstStyle/>
                    <a:p>
                      <a:endParaRPr lang="en-NZ" dirty="0"/>
                    </a:p>
                  </a:txBody>
                  <a:tcPr>
                    <a:solidFill>
                      <a:schemeClr val="accent1"/>
                    </a:solidFill>
                  </a:tcPr>
                </a:tc>
                <a:tc hMerge="1">
                  <a:txBody>
                    <a:bodyPr/>
                    <a:lstStyle/>
                    <a:p>
                      <a:endParaRPr lang="en-NZ"/>
                    </a:p>
                  </a:txBody>
                  <a:tcPr>
                    <a:solidFill>
                      <a:schemeClr val="accent1"/>
                    </a:solidFill>
                  </a:tcPr>
                </a:tc>
                <a:tc hMerge="1">
                  <a:txBody>
                    <a:bodyPr/>
                    <a:lstStyle/>
                    <a:p>
                      <a:endParaRPr lang="en-NZ" dirty="0"/>
                    </a:p>
                  </a:txBody>
                  <a:tcPr>
                    <a:solidFill>
                      <a:schemeClr val="accent1"/>
                    </a:solidFill>
                  </a:tcPr>
                </a:tc>
                <a:extLst>
                  <a:ext uri="{0D108BD9-81ED-4DB2-BD59-A6C34878D82A}">
                    <a16:rowId xmlns:a16="http://schemas.microsoft.com/office/drawing/2014/main" val="10003"/>
                  </a:ext>
                </a:extLst>
              </a:tr>
              <a:tr h="489857">
                <a:tc>
                  <a:txBody>
                    <a:bodyPr/>
                    <a:lstStyle/>
                    <a:p>
                      <a:r>
                        <a:rPr lang="en-NZ" sz="850" i="0" kern="1200" baseline="0" dirty="0">
                          <a:solidFill>
                            <a:schemeClr val="dk1"/>
                          </a:solidFill>
                          <a:latin typeface="+mn-lt"/>
                          <a:ea typeface="+mn-ea"/>
                          <a:cs typeface="+mn-cs"/>
                        </a:rPr>
                        <a:t>Increase in certification levels and positive evaluation feedback.</a:t>
                      </a:r>
                    </a:p>
                  </a:txBody>
                  <a:tcPr marL="65314" marR="65314" marT="32657" marB="32657">
                    <a:solidFill>
                      <a:srgbClr val="D2DEEF"/>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NZ" sz="850" i="0" kern="1200" baseline="0" dirty="0">
                          <a:solidFill>
                            <a:schemeClr val="dk1"/>
                          </a:solidFill>
                          <a:latin typeface="+mn-lt"/>
                          <a:ea typeface="+mn-ea"/>
                          <a:cs typeface="+mn-cs"/>
                        </a:rPr>
                        <a:t>Increased coverage of umpires officiating premier or regional tournament level (or equivalent) games.</a:t>
                      </a:r>
                    </a:p>
                  </a:txBody>
                  <a:tcPr marL="65314" marR="65314" marT="32657" marB="32657">
                    <a:solidFill>
                      <a:srgbClr val="D2DEEF"/>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NZ" sz="850" i="0" kern="1200" baseline="0" dirty="0">
                          <a:solidFill>
                            <a:schemeClr val="dk1"/>
                          </a:solidFill>
                          <a:latin typeface="+mn-lt"/>
                          <a:ea typeface="+mn-ea"/>
                          <a:cs typeface="+mn-cs"/>
                        </a:rPr>
                        <a:t>Programs established to deliver modules and increase certifications, mentors and trainers.</a:t>
                      </a:r>
                    </a:p>
                  </a:txBody>
                  <a:tcPr marL="65314" marR="65314" marT="32657" marB="32657">
                    <a:solidFill>
                      <a:srgbClr val="D2DEEF"/>
                    </a:solidFill>
                  </a:tcPr>
                </a:tc>
                <a:tc>
                  <a:txBody>
                    <a:bodyPr/>
                    <a:lstStyle/>
                    <a:p>
                      <a:pPr marL="0" marR="0" indent="0" algn="l" defTabSz="1280160" rtl="0" eaLnBrk="1" fontAlgn="auto" latinLnBrk="0" hangingPunct="1">
                        <a:lnSpc>
                          <a:spcPct val="100000"/>
                        </a:lnSpc>
                        <a:spcBef>
                          <a:spcPts val="0"/>
                        </a:spcBef>
                        <a:spcAft>
                          <a:spcPts val="0"/>
                        </a:spcAft>
                        <a:buClrTx/>
                        <a:buSzTx/>
                        <a:buFontTx/>
                        <a:buNone/>
                        <a:tabLst/>
                        <a:defRPr/>
                      </a:pPr>
                      <a:r>
                        <a:rPr lang="en-NZ" sz="850" i="0" kern="1200" baseline="0" dirty="0">
                          <a:solidFill>
                            <a:schemeClr val="dk1"/>
                          </a:solidFill>
                          <a:latin typeface="+mn-lt"/>
                          <a:ea typeface="+mn-ea"/>
                          <a:cs typeface="+mn-cs"/>
                        </a:rPr>
                        <a:t>Umpires access information and resources in a timely manner.</a:t>
                      </a:r>
                    </a:p>
                  </a:txBody>
                  <a:tcPr marL="65314" marR="65314" marT="32657" marB="32657">
                    <a:solidFill>
                      <a:srgbClr val="D2DEEF"/>
                    </a:solidFill>
                  </a:tcPr>
                </a:tc>
                <a:extLst>
                  <a:ext uri="{0D108BD9-81ED-4DB2-BD59-A6C34878D82A}">
                    <a16:rowId xmlns:a16="http://schemas.microsoft.com/office/drawing/2014/main" val="10004"/>
                  </a:ext>
                </a:extLst>
              </a:tr>
            </a:tbl>
          </a:graphicData>
        </a:graphic>
      </p:graphicFrame>
      <p:graphicFrame>
        <p:nvGraphicFramePr>
          <p:cNvPr id="8" name="Table 7"/>
          <p:cNvGraphicFramePr>
            <a:graphicFrameLocks noGrp="1"/>
          </p:cNvGraphicFramePr>
          <p:nvPr>
            <p:extLst>
              <p:ext uri="{D42A27DB-BD31-4B8C-83A1-F6EECF244321}">
                <p14:modId xmlns:p14="http://schemas.microsoft.com/office/powerpoint/2010/main" val="3959865900"/>
              </p:ext>
            </p:extLst>
          </p:nvPr>
        </p:nvGraphicFramePr>
        <p:xfrm>
          <a:off x="107503" y="265283"/>
          <a:ext cx="8928993" cy="1330234"/>
        </p:xfrm>
        <a:graphic>
          <a:graphicData uri="http://schemas.openxmlformats.org/drawingml/2006/table">
            <a:tbl>
              <a:tblPr firstRow="1" bandRow="1">
                <a:tableStyleId>{5C22544A-7EE6-4342-B048-85BDC9FD1C3A}</a:tableStyleId>
              </a:tblPr>
              <a:tblGrid>
                <a:gridCol w="4340232">
                  <a:extLst>
                    <a:ext uri="{9D8B030D-6E8A-4147-A177-3AD203B41FA5}">
                      <a16:colId xmlns:a16="http://schemas.microsoft.com/office/drawing/2014/main" val="20000"/>
                    </a:ext>
                  </a:extLst>
                </a:gridCol>
                <a:gridCol w="4588761">
                  <a:extLst>
                    <a:ext uri="{9D8B030D-6E8A-4147-A177-3AD203B41FA5}">
                      <a16:colId xmlns:a16="http://schemas.microsoft.com/office/drawing/2014/main" val="20001"/>
                    </a:ext>
                  </a:extLst>
                </a:gridCol>
              </a:tblGrid>
              <a:tr h="538643">
                <a:tc>
                  <a:txBody>
                    <a:bodyPr/>
                    <a:lstStyle/>
                    <a:p>
                      <a:pPr marL="0" marR="0" indent="0" algn="l" defTabSz="1280160" rtl="0" eaLnBrk="1" fontAlgn="auto" latinLnBrk="0" hangingPunct="1">
                        <a:lnSpc>
                          <a:spcPct val="100000"/>
                        </a:lnSpc>
                        <a:spcBef>
                          <a:spcPts val="0"/>
                        </a:spcBef>
                        <a:spcAft>
                          <a:spcPts val="0"/>
                        </a:spcAft>
                        <a:buClrTx/>
                        <a:buSzTx/>
                        <a:buFontTx/>
                        <a:buNone/>
                        <a:tabLst/>
                        <a:defRPr/>
                      </a:pPr>
                      <a:r>
                        <a:rPr lang="en-NZ" sz="1100" b="0" dirty="0"/>
                        <a:t>OUR</a:t>
                      </a:r>
                      <a:r>
                        <a:rPr lang="en-NZ" sz="1100" b="0" baseline="0" dirty="0"/>
                        <a:t> VISION</a:t>
                      </a:r>
                      <a:r>
                        <a:rPr lang="en-NZ" sz="1100" b="0" dirty="0"/>
                        <a:t>:</a:t>
                      </a:r>
                      <a:r>
                        <a:rPr lang="en-NZ" sz="1100" b="0" baseline="0" dirty="0"/>
                        <a:t>   </a:t>
                      </a:r>
                      <a:r>
                        <a:rPr lang="en-NZ" sz="1100" b="0" dirty="0"/>
                        <a:t>The softball community experiences</a:t>
                      </a:r>
                      <a:r>
                        <a:rPr lang="en-NZ" sz="1100" b="0" baseline="0" dirty="0"/>
                        <a:t> quality umpiring and </a:t>
                      </a:r>
                    </a:p>
                    <a:p>
                      <a:pPr marL="0" marR="0" indent="0" algn="ctr" defTabSz="1280160" rtl="0" eaLnBrk="1" fontAlgn="auto" latinLnBrk="0" hangingPunct="1">
                        <a:lnSpc>
                          <a:spcPct val="100000"/>
                        </a:lnSpc>
                        <a:spcBef>
                          <a:spcPts val="0"/>
                        </a:spcBef>
                        <a:spcAft>
                          <a:spcPts val="0"/>
                        </a:spcAft>
                        <a:buClrTx/>
                        <a:buSzTx/>
                        <a:buFontTx/>
                        <a:buNone/>
                        <a:tabLst/>
                        <a:defRPr/>
                      </a:pPr>
                      <a:r>
                        <a:rPr lang="en-NZ" sz="1100" b="0" baseline="0" dirty="0"/>
                        <a:t>the </a:t>
                      </a:r>
                      <a:r>
                        <a:rPr lang="en-NZ" sz="1100" b="0" kern="1200" baseline="0" dirty="0">
                          <a:solidFill>
                            <a:schemeClr val="lt1"/>
                          </a:solidFill>
                          <a:latin typeface="+mn-lt"/>
                          <a:ea typeface="+mn-ea"/>
                          <a:cs typeface="+mn-cs"/>
                        </a:rPr>
                        <a:t>enjoyment it creates</a:t>
                      </a:r>
                    </a:p>
                    <a:p>
                      <a:endParaRPr lang="en-NZ" sz="1000" b="0" dirty="0"/>
                    </a:p>
                  </a:txBody>
                  <a:tcPr marL="65314" marR="65314" marT="32657" marB="32657">
                    <a:solidFill>
                      <a:srgbClr val="002060"/>
                    </a:solidFill>
                  </a:tcPr>
                </a:tc>
                <a:tc rowSpan="2">
                  <a:txBody>
                    <a:bodyPr/>
                    <a:lstStyle/>
                    <a:p>
                      <a:pPr marL="0" marR="0" indent="0" algn="l" defTabSz="1280160" rtl="0" eaLnBrk="1" fontAlgn="auto" latinLnBrk="0" hangingPunct="1">
                        <a:lnSpc>
                          <a:spcPct val="100000"/>
                        </a:lnSpc>
                        <a:spcBef>
                          <a:spcPts val="0"/>
                        </a:spcBef>
                        <a:spcAft>
                          <a:spcPts val="0"/>
                        </a:spcAft>
                        <a:buClrTx/>
                        <a:buSzTx/>
                        <a:buFontTx/>
                        <a:buNone/>
                        <a:tabLst/>
                        <a:defRPr/>
                      </a:pPr>
                      <a:r>
                        <a:rPr lang="en-NZ" sz="1300" b="1" dirty="0">
                          <a:solidFill>
                            <a:schemeClr val="tx1"/>
                          </a:solidFill>
                        </a:rPr>
                        <a:t>OUR</a:t>
                      </a:r>
                      <a:r>
                        <a:rPr lang="en-NZ" sz="1300" b="1" baseline="0" dirty="0">
                          <a:solidFill>
                            <a:schemeClr val="tx1"/>
                          </a:solidFill>
                        </a:rPr>
                        <a:t> VALUES:</a:t>
                      </a:r>
                      <a:endParaRPr lang="en-NZ" sz="1300" b="1" dirty="0">
                        <a:solidFill>
                          <a:schemeClr val="tx1"/>
                        </a:solidFill>
                      </a:endParaRPr>
                    </a:p>
                    <a:p>
                      <a:r>
                        <a:rPr lang="en-NZ" sz="1000" b="1" dirty="0">
                          <a:solidFill>
                            <a:schemeClr val="tx1"/>
                          </a:solidFill>
                        </a:rPr>
                        <a:t>Passion</a:t>
                      </a:r>
                      <a:r>
                        <a:rPr lang="en-NZ" sz="1000" b="0" dirty="0">
                          <a:solidFill>
                            <a:schemeClr val="tx1"/>
                          </a:solidFill>
                        </a:rPr>
                        <a:t> – encompassing</a:t>
                      </a:r>
                      <a:r>
                        <a:rPr lang="en-NZ" sz="1000" b="0" baseline="0" dirty="0">
                          <a:solidFill>
                            <a:schemeClr val="tx1"/>
                          </a:solidFill>
                        </a:rPr>
                        <a:t> excellence, enthusiasm, persistence and dedication</a:t>
                      </a:r>
                    </a:p>
                    <a:p>
                      <a:r>
                        <a:rPr lang="en-NZ" sz="1000" b="1" baseline="0" dirty="0">
                          <a:solidFill>
                            <a:schemeClr val="tx1"/>
                          </a:solidFill>
                        </a:rPr>
                        <a:t>Honesty</a:t>
                      </a:r>
                      <a:r>
                        <a:rPr lang="en-NZ" sz="1000" b="0" baseline="0" dirty="0">
                          <a:solidFill>
                            <a:schemeClr val="tx1"/>
                          </a:solidFill>
                        </a:rPr>
                        <a:t> – implicit to gain trust and portray fairness</a:t>
                      </a:r>
                    </a:p>
                    <a:p>
                      <a:r>
                        <a:rPr lang="en-NZ" sz="1000" b="1" baseline="0" dirty="0">
                          <a:solidFill>
                            <a:schemeClr val="tx1"/>
                          </a:solidFill>
                        </a:rPr>
                        <a:t>Courage</a:t>
                      </a:r>
                      <a:r>
                        <a:rPr lang="en-NZ" sz="1000" b="0" baseline="0" dirty="0">
                          <a:solidFill>
                            <a:schemeClr val="tx1"/>
                          </a:solidFill>
                        </a:rPr>
                        <a:t> – having presence, calmness in how we behave and leadership in game management</a:t>
                      </a:r>
                    </a:p>
                    <a:p>
                      <a:r>
                        <a:rPr lang="en-NZ" sz="1000" b="1" baseline="0" dirty="0">
                          <a:solidFill>
                            <a:schemeClr val="tx1"/>
                          </a:solidFill>
                        </a:rPr>
                        <a:t>Quality</a:t>
                      </a:r>
                      <a:r>
                        <a:rPr lang="en-NZ" sz="1000" b="0" baseline="0" dirty="0">
                          <a:solidFill>
                            <a:schemeClr val="tx1"/>
                          </a:solidFill>
                        </a:rPr>
                        <a:t> – achieved through consistency, teamwork and continuous improvement</a:t>
                      </a:r>
                    </a:p>
                    <a:p>
                      <a:r>
                        <a:rPr lang="en-NZ" sz="1000" b="1" baseline="0" dirty="0">
                          <a:solidFill>
                            <a:schemeClr val="tx1"/>
                          </a:solidFill>
                        </a:rPr>
                        <a:t>Enjoyment</a:t>
                      </a:r>
                      <a:r>
                        <a:rPr lang="en-NZ" sz="1000" b="0" baseline="0" dirty="0">
                          <a:solidFill>
                            <a:schemeClr val="tx1"/>
                          </a:solidFill>
                        </a:rPr>
                        <a:t> – for the umpires, players, team management and spectators</a:t>
                      </a:r>
                    </a:p>
                    <a:p>
                      <a:r>
                        <a:rPr lang="en-NZ" sz="1000" b="1" baseline="0" dirty="0">
                          <a:solidFill>
                            <a:schemeClr val="tx1"/>
                          </a:solidFill>
                        </a:rPr>
                        <a:t>Respect</a:t>
                      </a:r>
                      <a:r>
                        <a:rPr lang="en-NZ" sz="1000" b="0" baseline="0" dirty="0">
                          <a:solidFill>
                            <a:schemeClr val="tx1"/>
                          </a:solidFill>
                        </a:rPr>
                        <a:t> – for each other, players and the rules</a:t>
                      </a:r>
                      <a:endParaRPr lang="en-NZ" sz="1000" b="0" dirty="0">
                        <a:solidFill>
                          <a:schemeClr val="tx1"/>
                        </a:solidFill>
                      </a:endParaRPr>
                    </a:p>
                  </a:txBody>
                  <a:tcPr marL="65314" marR="65314" marT="32657" marB="32657">
                    <a:solidFill>
                      <a:schemeClr val="accent1">
                        <a:lumMod val="20000"/>
                        <a:lumOff val="80000"/>
                      </a:schemeClr>
                    </a:solidFill>
                  </a:tcPr>
                </a:tc>
                <a:extLst>
                  <a:ext uri="{0D108BD9-81ED-4DB2-BD59-A6C34878D82A}">
                    <a16:rowId xmlns:a16="http://schemas.microsoft.com/office/drawing/2014/main" val="10000"/>
                  </a:ext>
                </a:extLst>
              </a:tr>
              <a:tr h="752866">
                <a:tc>
                  <a:txBody>
                    <a:bodyPr/>
                    <a:lstStyle/>
                    <a:p>
                      <a:pPr marL="0" marR="0" indent="0" algn="l" defTabSz="1280160" rtl="0" eaLnBrk="1" fontAlgn="auto" latinLnBrk="0" hangingPunct="1">
                        <a:lnSpc>
                          <a:spcPct val="100000"/>
                        </a:lnSpc>
                        <a:spcBef>
                          <a:spcPts val="0"/>
                        </a:spcBef>
                        <a:spcAft>
                          <a:spcPts val="0"/>
                        </a:spcAft>
                        <a:buClrTx/>
                        <a:buSzTx/>
                        <a:buFontTx/>
                        <a:buNone/>
                        <a:tabLst/>
                        <a:defRPr/>
                      </a:pPr>
                      <a:r>
                        <a:rPr lang="en-NZ" sz="1100" b="1" dirty="0"/>
                        <a:t>OUR</a:t>
                      </a:r>
                      <a:r>
                        <a:rPr lang="en-NZ" sz="1100" b="1" baseline="0" dirty="0"/>
                        <a:t> MISSION STATEMENT:</a:t>
                      </a:r>
                      <a:br>
                        <a:rPr lang="en-NZ" sz="1100" b="1" baseline="0" dirty="0"/>
                      </a:br>
                      <a:r>
                        <a:rPr lang="en-NZ" sz="1000" dirty="0">
                          <a:solidFill>
                            <a:schemeClr val="tx1"/>
                          </a:solidFill>
                        </a:rPr>
                        <a:t>To lead</a:t>
                      </a:r>
                      <a:r>
                        <a:rPr lang="en-NZ" sz="1000" baseline="0" dirty="0">
                          <a:solidFill>
                            <a:schemeClr val="tx1"/>
                          </a:solidFill>
                        </a:rPr>
                        <a:t> &amp; deliver quality &amp; professional umpiring providing enjoyment &amp; support to all those involved.</a:t>
                      </a:r>
                      <a:endParaRPr lang="en-NZ" sz="1000" b="1" dirty="0">
                        <a:solidFill>
                          <a:schemeClr val="tx1"/>
                        </a:solidFill>
                      </a:endParaRPr>
                    </a:p>
                  </a:txBody>
                  <a:tcPr marL="65314" marR="65314" marT="32657" marB="32657"/>
                </a:tc>
                <a:tc vMerge="1">
                  <a:txBody>
                    <a:bodyPr/>
                    <a:lstStyle/>
                    <a:p>
                      <a:pPr marL="0" marR="0" indent="0" algn="l" defTabSz="1280160" rtl="0" eaLnBrk="1" fontAlgn="auto" latinLnBrk="0" hangingPunct="1">
                        <a:lnSpc>
                          <a:spcPct val="100000"/>
                        </a:lnSpc>
                        <a:spcBef>
                          <a:spcPts val="0"/>
                        </a:spcBef>
                        <a:spcAft>
                          <a:spcPts val="0"/>
                        </a:spcAft>
                        <a:buClrTx/>
                        <a:buSzTx/>
                        <a:buFontTx/>
                        <a:buNone/>
                        <a:tabLst/>
                        <a:defRPr/>
                      </a:pPr>
                      <a:endParaRPr lang="en-NZ" sz="1200" dirty="0"/>
                    </a:p>
                  </a:txBody>
                  <a:tcPr/>
                </a:tc>
                <a:extLst>
                  <a:ext uri="{0D108BD9-81ED-4DB2-BD59-A6C34878D82A}">
                    <a16:rowId xmlns:a16="http://schemas.microsoft.com/office/drawing/2014/main" val="10001"/>
                  </a:ext>
                </a:extLst>
              </a:tr>
            </a:tbl>
          </a:graphicData>
        </a:graphic>
      </p:graphicFrame>
      <p:grpSp>
        <p:nvGrpSpPr>
          <p:cNvPr id="9" name="Group 8"/>
          <p:cNvGrpSpPr/>
          <p:nvPr/>
        </p:nvGrpSpPr>
        <p:grpSpPr>
          <a:xfrm>
            <a:off x="230785" y="3284983"/>
            <a:ext cx="8630615" cy="3481008"/>
            <a:chOff x="522288" y="1004119"/>
            <a:chExt cx="11722210" cy="4873412"/>
          </a:xfrm>
        </p:grpSpPr>
        <p:grpSp>
          <p:nvGrpSpPr>
            <p:cNvPr id="10" name="Group 9"/>
            <p:cNvGrpSpPr/>
            <p:nvPr/>
          </p:nvGrpSpPr>
          <p:grpSpPr>
            <a:xfrm>
              <a:off x="522288" y="1349858"/>
              <a:ext cx="2782574" cy="1972924"/>
              <a:chOff x="385763" y="1767624"/>
              <a:chExt cx="1987553" cy="306193"/>
            </a:xfrm>
          </p:grpSpPr>
          <p:sp>
            <p:nvSpPr>
              <p:cNvPr id="27" name="Text Box 10"/>
              <p:cNvSpPr txBox="1">
                <a:spLocks noChangeArrowheads="1"/>
              </p:cNvSpPr>
              <p:nvPr>
                <p:custDataLst>
                  <p:tags r:id="rId12"/>
                </p:custDataLst>
              </p:nvPr>
            </p:nvSpPr>
            <p:spPr bwMode="auto">
              <a:xfrm>
                <a:off x="385764" y="1767624"/>
                <a:ext cx="1987552" cy="39110"/>
              </a:xfrm>
              <a:prstGeom prst="rect">
                <a:avLst/>
              </a:prstGeom>
              <a:solidFill>
                <a:schemeClr val="accent1"/>
              </a:solidFill>
              <a:ln w="12700" algn="ctr">
                <a:solidFill>
                  <a:schemeClr val="accent1"/>
                </a:solidFill>
                <a:miter lim="800000"/>
                <a:headEnd/>
                <a:tailEnd type="none" w="sm" len="med"/>
              </a:ln>
            </p:spPr>
            <p:txBody>
              <a:bodyPr lIns="50400" tIns="50400" rIns="50400" bIns="50400" anchor="ctr" anchorCtr="1"/>
              <a:lstStyle/>
              <a:p>
                <a:pPr algn="ctr"/>
                <a:r>
                  <a:rPr lang="en-NZ" sz="1000" b="1" dirty="0">
                    <a:solidFill>
                      <a:schemeClr val="bg1"/>
                    </a:solidFill>
                  </a:rPr>
                  <a:t>Pathways</a:t>
                </a:r>
              </a:p>
            </p:txBody>
          </p:sp>
          <p:sp>
            <p:nvSpPr>
              <p:cNvPr id="28" name="Rectangle 11"/>
              <p:cNvSpPr>
                <a:spLocks noChangeArrowheads="1"/>
              </p:cNvSpPr>
              <p:nvPr>
                <p:custDataLst>
                  <p:tags r:id="rId13"/>
                </p:custDataLst>
              </p:nvPr>
            </p:nvSpPr>
            <p:spPr bwMode="auto">
              <a:xfrm>
                <a:off x="385763" y="1808358"/>
                <a:ext cx="1979613" cy="265459"/>
              </a:xfrm>
              <a:prstGeom prst="rect">
                <a:avLst/>
              </a:prstGeom>
              <a:solidFill>
                <a:schemeClr val="bg1"/>
              </a:solidFill>
              <a:ln w="12700" algn="ctr">
                <a:solidFill>
                  <a:schemeClr val="accent1"/>
                </a:solidFill>
                <a:miter lim="800000"/>
                <a:headEnd/>
                <a:tailEnd/>
              </a:ln>
            </p:spPr>
            <p:txBody>
              <a:bodyPr lIns="50400" tIns="50400" rIns="50400" bIns="50400" anchor="t"/>
              <a:lstStyle/>
              <a:p>
                <a:pPr marL="179979" lvl="1" indent="-179979" defTabSz="957150">
                  <a:spcBef>
                    <a:spcPts val="400"/>
                  </a:spcBef>
                  <a:buFont typeface="Arial" charset="0"/>
                  <a:buChar char="•"/>
                </a:pPr>
                <a:r>
                  <a:rPr lang="en-US" sz="650" dirty="0">
                    <a:solidFill>
                      <a:schemeClr val="tx2"/>
                    </a:solidFill>
                    <a:latin typeface="Arial"/>
                  </a:rPr>
                  <a:t>Establish a pathways governance committee &amp; terms of reference.</a:t>
                </a:r>
              </a:p>
              <a:p>
                <a:pPr marL="179979" lvl="1" indent="-179979" defTabSz="957150">
                  <a:spcBef>
                    <a:spcPts val="400"/>
                  </a:spcBef>
                  <a:buFont typeface="Arial" charset="0"/>
                  <a:buChar char="•"/>
                </a:pPr>
                <a:r>
                  <a:rPr lang="en-US" sz="650" dirty="0">
                    <a:solidFill>
                      <a:schemeClr val="tx2"/>
                    </a:solidFill>
                    <a:latin typeface="Arial"/>
                  </a:rPr>
                  <a:t>Review and assess our current internal and external frameworks.</a:t>
                </a:r>
              </a:p>
              <a:p>
                <a:pPr marL="179979" lvl="1" indent="-179979" defTabSz="957150">
                  <a:spcBef>
                    <a:spcPts val="400"/>
                  </a:spcBef>
                  <a:buFont typeface="Arial" charset="0"/>
                  <a:buChar char="•"/>
                </a:pPr>
                <a:r>
                  <a:rPr lang="en-US" sz="650" dirty="0">
                    <a:solidFill>
                      <a:schemeClr val="tx2"/>
                    </a:solidFill>
                    <a:latin typeface="Arial"/>
                  </a:rPr>
                  <a:t>Review grading system – assess criteria for each level</a:t>
                </a:r>
              </a:p>
              <a:p>
                <a:pPr marL="179979" lvl="1" indent="-179979" defTabSz="957150">
                  <a:spcBef>
                    <a:spcPts val="400"/>
                  </a:spcBef>
                  <a:buFont typeface="Arial" charset="0"/>
                  <a:buChar char="•"/>
                </a:pPr>
                <a:r>
                  <a:rPr lang="en-US" sz="650" dirty="0">
                    <a:solidFill>
                      <a:schemeClr val="tx2"/>
                    </a:solidFill>
                    <a:latin typeface="Arial"/>
                  </a:rPr>
                  <a:t>Develop a pathways framework that defines the assessment and evaluation criteria  for levels one to  seven with an emphasis on levels one to four.  </a:t>
                </a:r>
              </a:p>
            </p:txBody>
          </p:sp>
        </p:grpSp>
        <p:grpSp>
          <p:nvGrpSpPr>
            <p:cNvPr id="11" name="Group 10"/>
            <p:cNvGrpSpPr/>
            <p:nvPr/>
          </p:nvGrpSpPr>
          <p:grpSpPr>
            <a:xfrm>
              <a:off x="3495249" y="1339550"/>
              <a:ext cx="2778868" cy="1983233"/>
              <a:chOff x="2509308" y="1767649"/>
              <a:chExt cx="1984906" cy="307793"/>
            </a:xfrm>
          </p:grpSpPr>
          <p:sp>
            <p:nvSpPr>
              <p:cNvPr id="25" name="Text Box 10"/>
              <p:cNvSpPr txBox="1">
                <a:spLocks noChangeArrowheads="1"/>
              </p:cNvSpPr>
              <p:nvPr>
                <p:custDataLst>
                  <p:tags r:id="rId10"/>
                </p:custDataLst>
              </p:nvPr>
            </p:nvSpPr>
            <p:spPr bwMode="auto">
              <a:xfrm>
                <a:off x="2509309" y="1767649"/>
                <a:ext cx="1984905" cy="39110"/>
              </a:xfrm>
              <a:prstGeom prst="rect">
                <a:avLst/>
              </a:prstGeom>
              <a:solidFill>
                <a:schemeClr val="accent1"/>
              </a:solidFill>
              <a:ln w="12700" algn="ctr">
                <a:solidFill>
                  <a:schemeClr val="accent1"/>
                </a:solidFill>
                <a:miter lim="800000"/>
                <a:headEnd/>
                <a:tailEnd type="none" w="sm" len="med"/>
              </a:ln>
            </p:spPr>
            <p:txBody>
              <a:bodyPr lIns="50400" tIns="50400" rIns="50400" bIns="50400" anchor="ctr" anchorCtr="1"/>
              <a:lstStyle/>
              <a:p>
                <a:pPr algn="ctr"/>
                <a:r>
                  <a:rPr lang="en-NZ" sz="1000" b="1" dirty="0">
                    <a:solidFill>
                      <a:schemeClr val="bg1"/>
                    </a:solidFill>
                  </a:rPr>
                  <a:t>Recruitment </a:t>
                </a:r>
                <a:r>
                  <a:rPr lang="en-NZ" sz="1000" b="1">
                    <a:solidFill>
                      <a:schemeClr val="bg1"/>
                    </a:solidFill>
                  </a:rPr>
                  <a:t>&amp; Retention</a:t>
                </a:r>
                <a:endParaRPr lang="en-NZ" sz="1000" b="1" dirty="0">
                  <a:solidFill>
                    <a:schemeClr val="bg1"/>
                  </a:solidFill>
                </a:endParaRPr>
              </a:p>
            </p:txBody>
          </p:sp>
          <p:sp>
            <p:nvSpPr>
              <p:cNvPr id="26" name="Rectangle 25"/>
              <p:cNvSpPr>
                <a:spLocks noChangeArrowheads="1"/>
              </p:cNvSpPr>
              <p:nvPr>
                <p:custDataLst>
                  <p:tags r:id="rId11"/>
                </p:custDataLst>
              </p:nvPr>
            </p:nvSpPr>
            <p:spPr bwMode="auto">
              <a:xfrm>
                <a:off x="2509308" y="1808358"/>
                <a:ext cx="1981200" cy="267084"/>
              </a:xfrm>
              <a:prstGeom prst="rect">
                <a:avLst/>
              </a:prstGeom>
              <a:noFill/>
              <a:ln w="12700" algn="ctr">
                <a:solidFill>
                  <a:schemeClr val="accent1"/>
                </a:solidFill>
                <a:miter lim="800000"/>
                <a:headEnd/>
                <a:tailEnd/>
              </a:ln>
            </p:spPr>
            <p:txBody>
              <a:bodyPr lIns="50400" tIns="50400" rIns="50400" bIns="50400" anchor="t"/>
              <a:lstStyle/>
              <a:p>
                <a:pPr marL="179979" lvl="1" indent="-179979" defTabSz="957150">
                  <a:spcBef>
                    <a:spcPts val="400"/>
                  </a:spcBef>
                  <a:buFont typeface="Arial" charset="0"/>
                  <a:buChar char="•"/>
                </a:pPr>
                <a:r>
                  <a:rPr lang="en-US" sz="650" dirty="0">
                    <a:solidFill>
                      <a:schemeClr val="tx2"/>
                    </a:solidFill>
                    <a:latin typeface="Arial"/>
                  </a:rPr>
                  <a:t>Establish a recruitment and retention working party &amp; terms of reference.</a:t>
                </a:r>
              </a:p>
              <a:p>
                <a:pPr marL="179979" lvl="1" indent="-179979" defTabSz="957150">
                  <a:spcBef>
                    <a:spcPts val="400"/>
                  </a:spcBef>
                  <a:buFont typeface="Arial" charset="0"/>
                  <a:buChar char="•"/>
                </a:pPr>
                <a:r>
                  <a:rPr lang="en-US" sz="650" dirty="0">
                    <a:solidFill>
                      <a:schemeClr val="tx2"/>
                    </a:solidFill>
                    <a:latin typeface="Arial"/>
                  </a:rPr>
                  <a:t>Engage our local associations to identify current practices &amp; resources.  </a:t>
                </a:r>
              </a:p>
              <a:p>
                <a:pPr marL="179979" lvl="1" indent="-179979" defTabSz="957150">
                  <a:spcBef>
                    <a:spcPts val="400"/>
                  </a:spcBef>
                  <a:buFont typeface="Arial" charset="0"/>
                  <a:buChar char="•"/>
                </a:pPr>
                <a:r>
                  <a:rPr lang="en-US" sz="650" dirty="0">
                    <a:solidFill>
                      <a:schemeClr val="tx2"/>
                    </a:solidFill>
                    <a:latin typeface="Arial"/>
                  </a:rPr>
                  <a:t>Review current practices and formulate best practice.</a:t>
                </a:r>
              </a:p>
              <a:p>
                <a:pPr marL="179979" lvl="1" indent="-179979" defTabSz="957150">
                  <a:spcBef>
                    <a:spcPts val="400"/>
                  </a:spcBef>
                  <a:buFont typeface="Arial" charset="0"/>
                  <a:buChar char="•"/>
                </a:pPr>
                <a:r>
                  <a:rPr lang="en-US" sz="650" dirty="0">
                    <a:solidFill>
                      <a:schemeClr val="tx2"/>
                    </a:solidFill>
                    <a:latin typeface="Arial"/>
                  </a:rPr>
                  <a:t>Develop a recruitment and retention framework. </a:t>
                </a:r>
              </a:p>
              <a:p>
                <a:pPr marL="179979" lvl="1" indent="-179979" defTabSz="957150">
                  <a:spcBef>
                    <a:spcPts val="400"/>
                  </a:spcBef>
                  <a:buFont typeface="Arial" charset="0"/>
                  <a:buChar char="•"/>
                </a:pPr>
                <a:r>
                  <a:rPr lang="en-US" sz="650" dirty="0">
                    <a:solidFill>
                      <a:schemeClr val="tx2"/>
                    </a:solidFill>
                    <a:latin typeface="Arial"/>
                  </a:rPr>
                  <a:t>Disseminate and promote locally and nationally</a:t>
                </a:r>
              </a:p>
            </p:txBody>
          </p:sp>
        </p:grpSp>
        <p:grpSp>
          <p:nvGrpSpPr>
            <p:cNvPr id="12" name="Group 11"/>
            <p:cNvGrpSpPr/>
            <p:nvPr/>
          </p:nvGrpSpPr>
          <p:grpSpPr>
            <a:xfrm>
              <a:off x="6478588" y="1353576"/>
              <a:ext cx="2773680" cy="1969206"/>
              <a:chOff x="4627563" y="1595927"/>
              <a:chExt cx="1981200" cy="305616"/>
            </a:xfrm>
          </p:grpSpPr>
          <p:sp>
            <p:nvSpPr>
              <p:cNvPr id="23" name="Text Box 10"/>
              <p:cNvSpPr txBox="1">
                <a:spLocks noChangeArrowheads="1"/>
              </p:cNvSpPr>
              <p:nvPr>
                <p:custDataLst>
                  <p:tags r:id="rId8"/>
                </p:custDataLst>
              </p:nvPr>
            </p:nvSpPr>
            <p:spPr bwMode="auto">
              <a:xfrm>
                <a:off x="4627563" y="1595927"/>
                <a:ext cx="1981200" cy="39110"/>
              </a:xfrm>
              <a:prstGeom prst="rect">
                <a:avLst/>
              </a:prstGeom>
              <a:solidFill>
                <a:schemeClr val="accent1"/>
              </a:solidFill>
              <a:ln w="12700" algn="ctr">
                <a:solidFill>
                  <a:schemeClr val="accent1"/>
                </a:solidFill>
                <a:miter lim="800000"/>
                <a:headEnd/>
                <a:tailEnd type="none" w="sm" len="med"/>
              </a:ln>
            </p:spPr>
            <p:txBody>
              <a:bodyPr lIns="50400" tIns="50400" rIns="50400" bIns="50400" anchor="ctr" anchorCtr="1"/>
              <a:lstStyle/>
              <a:p>
                <a:pPr algn="ctr"/>
                <a:r>
                  <a:rPr lang="en-NZ" sz="1000" b="1" dirty="0">
                    <a:solidFill>
                      <a:schemeClr val="bg1"/>
                    </a:solidFill>
                  </a:rPr>
                  <a:t>Training &amp; Development</a:t>
                </a:r>
              </a:p>
            </p:txBody>
          </p:sp>
          <p:sp>
            <p:nvSpPr>
              <p:cNvPr id="24" name="Rectangle 11"/>
              <p:cNvSpPr>
                <a:spLocks noChangeArrowheads="1"/>
              </p:cNvSpPr>
              <p:nvPr>
                <p:custDataLst>
                  <p:tags r:id="rId9"/>
                </p:custDataLst>
              </p:nvPr>
            </p:nvSpPr>
            <p:spPr bwMode="auto">
              <a:xfrm>
                <a:off x="4627563" y="1634459"/>
                <a:ext cx="1981200" cy="267084"/>
              </a:xfrm>
              <a:prstGeom prst="rect">
                <a:avLst/>
              </a:prstGeom>
              <a:noFill/>
              <a:ln w="12700" algn="ctr">
                <a:solidFill>
                  <a:schemeClr val="accent1"/>
                </a:solidFill>
                <a:miter lim="800000"/>
                <a:headEnd/>
                <a:tailEnd/>
              </a:ln>
            </p:spPr>
            <p:txBody>
              <a:bodyPr lIns="50400" tIns="50400" rIns="50400" bIns="50400" anchor="t"/>
              <a:lstStyle/>
              <a:p>
                <a:pPr marL="179979" lvl="1" indent="-179979" defTabSz="957150">
                  <a:spcBef>
                    <a:spcPts val="400"/>
                  </a:spcBef>
                  <a:buFont typeface="Arial" charset="0"/>
                  <a:buChar char="•"/>
                </a:pPr>
                <a:r>
                  <a:rPr lang="en-US" sz="650" dirty="0">
                    <a:solidFill>
                      <a:schemeClr val="tx2"/>
                    </a:solidFill>
                    <a:latin typeface="Arial"/>
                  </a:rPr>
                  <a:t>Establish a training and development working party &amp; terms of reference.</a:t>
                </a:r>
              </a:p>
              <a:p>
                <a:pPr marL="179979" lvl="1" indent="-179979" defTabSz="957150">
                  <a:spcBef>
                    <a:spcPts val="400"/>
                  </a:spcBef>
                  <a:buFont typeface="Arial" charset="0"/>
                  <a:buChar char="•"/>
                </a:pPr>
                <a:r>
                  <a:rPr lang="en-US" sz="650" dirty="0">
                    <a:solidFill>
                      <a:schemeClr val="tx2"/>
                    </a:solidFill>
                    <a:latin typeface="Arial"/>
                  </a:rPr>
                  <a:t>Implement, monitor and evaluate the pathways framework across the national umpiring fraternity</a:t>
                </a:r>
              </a:p>
              <a:p>
                <a:pPr marL="179979" lvl="1" indent="-179979" defTabSz="957150">
                  <a:spcBef>
                    <a:spcPts val="400"/>
                  </a:spcBef>
                  <a:buFont typeface="Arial" charset="0"/>
                  <a:buChar char="•"/>
                </a:pPr>
                <a:r>
                  <a:rPr lang="en-US" sz="650" dirty="0">
                    <a:solidFill>
                      <a:schemeClr val="tx2"/>
                    </a:solidFill>
                    <a:latin typeface="Arial"/>
                  </a:rPr>
                  <a:t>Working party to establish and maintain a mentoring / coaching and leadership development program. </a:t>
                </a:r>
              </a:p>
              <a:p>
                <a:pPr marL="179979" lvl="1" indent="-179979" defTabSz="957150">
                  <a:spcBef>
                    <a:spcPts val="400"/>
                  </a:spcBef>
                  <a:buFont typeface="Arial" charset="0"/>
                  <a:buChar char="•"/>
                </a:pPr>
                <a:r>
                  <a:rPr lang="en-US" sz="650" dirty="0">
                    <a:solidFill>
                      <a:schemeClr val="tx2"/>
                    </a:solidFill>
                    <a:latin typeface="Arial"/>
                  </a:rPr>
                  <a:t>Working party to establish a ‘Train the Trainers program.</a:t>
                </a:r>
              </a:p>
            </p:txBody>
          </p:sp>
        </p:grpSp>
        <p:grpSp>
          <p:nvGrpSpPr>
            <p:cNvPr id="13" name="Group 12"/>
            <p:cNvGrpSpPr/>
            <p:nvPr/>
          </p:nvGrpSpPr>
          <p:grpSpPr>
            <a:xfrm>
              <a:off x="9456737" y="1349862"/>
              <a:ext cx="2785538" cy="1972924"/>
              <a:chOff x="6767513" y="1771405"/>
              <a:chExt cx="1989670" cy="306193"/>
            </a:xfrm>
          </p:grpSpPr>
          <p:sp>
            <p:nvSpPr>
              <p:cNvPr id="21" name="Text Box 10"/>
              <p:cNvSpPr txBox="1">
                <a:spLocks noChangeArrowheads="1"/>
              </p:cNvSpPr>
              <p:nvPr>
                <p:custDataLst>
                  <p:tags r:id="rId6"/>
                </p:custDataLst>
              </p:nvPr>
            </p:nvSpPr>
            <p:spPr bwMode="auto">
              <a:xfrm>
                <a:off x="6767513" y="1771405"/>
                <a:ext cx="1979612" cy="39110"/>
              </a:xfrm>
              <a:prstGeom prst="rect">
                <a:avLst/>
              </a:prstGeom>
              <a:solidFill>
                <a:schemeClr val="accent1"/>
              </a:solidFill>
              <a:ln w="12700" algn="ctr">
                <a:solidFill>
                  <a:schemeClr val="accent1"/>
                </a:solidFill>
                <a:miter lim="800000"/>
                <a:headEnd/>
                <a:tailEnd type="none" w="sm" len="med"/>
              </a:ln>
            </p:spPr>
            <p:txBody>
              <a:bodyPr lIns="50400" tIns="50400" rIns="50400" bIns="50400" anchor="ctr" anchorCtr="1"/>
              <a:lstStyle/>
              <a:p>
                <a:pPr algn="ctr"/>
                <a:r>
                  <a:rPr lang="en-NZ" sz="1000" b="1" dirty="0">
                    <a:solidFill>
                      <a:schemeClr val="bg1"/>
                    </a:solidFill>
                  </a:rPr>
                  <a:t>Operational Excellence</a:t>
                </a:r>
              </a:p>
            </p:txBody>
          </p:sp>
          <p:sp>
            <p:nvSpPr>
              <p:cNvPr id="22" name="Rectangle 11"/>
              <p:cNvSpPr>
                <a:spLocks noChangeArrowheads="1"/>
              </p:cNvSpPr>
              <p:nvPr>
                <p:custDataLst>
                  <p:tags r:id="rId7"/>
                </p:custDataLst>
              </p:nvPr>
            </p:nvSpPr>
            <p:spPr bwMode="auto">
              <a:xfrm>
                <a:off x="6777571" y="1810815"/>
                <a:ext cx="1979612" cy="266783"/>
              </a:xfrm>
              <a:prstGeom prst="rect">
                <a:avLst/>
              </a:prstGeom>
              <a:noFill/>
              <a:ln w="12700" algn="ctr">
                <a:solidFill>
                  <a:schemeClr val="accent1"/>
                </a:solidFill>
                <a:miter lim="800000"/>
                <a:headEnd/>
                <a:tailEnd/>
              </a:ln>
            </p:spPr>
            <p:txBody>
              <a:bodyPr lIns="50400" tIns="50400" rIns="50400" bIns="50400" anchor="t"/>
              <a:lstStyle/>
              <a:p>
                <a:pPr marL="179979" lvl="1" indent="-179979" defTabSz="957150">
                  <a:spcBef>
                    <a:spcPts val="400"/>
                  </a:spcBef>
                  <a:buFont typeface="Arial" charset="0"/>
                  <a:buChar char="•"/>
                </a:pPr>
                <a:r>
                  <a:rPr lang="en-US" sz="650" dirty="0">
                    <a:solidFill>
                      <a:schemeClr val="tx2"/>
                    </a:solidFill>
                    <a:latin typeface="Arial"/>
                  </a:rPr>
                  <a:t>Communicate Strategic Plan to community</a:t>
                </a:r>
              </a:p>
              <a:p>
                <a:pPr marL="179979" lvl="1" indent="-179979" defTabSz="957150">
                  <a:spcBef>
                    <a:spcPts val="400"/>
                  </a:spcBef>
                  <a:buFont typeface="Arial" charset="0"/>
                  <a:buChar char="•"/>
                </a:pPr>
                <a:r>
                  <a:rPr lang="en-US" sz="650" dirty="0">
                    <a:solidFill>
                      <a:schemeClr val="tx2"/>
                    </a:solidFill>
                    <a:latin typeface="Arial"/>
                  </a:rPr>
                  <a:t>Develop a modernized communication strategy / plan .</a:t>
                </a:r>
              </a:p>
              <a:p>
                <a:pPr marL="179979" lvl="1" indent="-179979" defTabSz="957150">
                  <a:spcBef>
                    <a:spcPts val="400"/>
                  </a:spcBef>
                  <a:buFont typeface="Arial" charset="0"/>
                  <a:buChar char="•"/>
                </a:pPr>
                <a:r>
                  <a:rPr lang="en-US" sz="650" dirty="0">
                    <a:solidFill>
                      <a:schemeClr val="tx2"/>
                    </a:solidFill>
                    <a:latin typeface="Arial"/>
                  </a:rPr>
                  <a:t>Develop a stakeholder / partnership management plan.</a:t>
                </a:r>
              </a:p>
              <a:p>
                <a:pPr marL="179979" lvl="1" indent="-179979" defTabSz="957150">
                  <a:spcBef>
                    <a:spcPts val="400"/>
                  </a:spcBef>
                  <a:buFont typeface="Arial" charset="0"/>
                  <a:buChar char="•"/>
                </a:pPr>
                <a:r>
                  <a:rPr lang="en-US" sz="650" dirty="0">
                    <a:solidFill>
                      <a:schemeClr val="tx2"/>
                    </a:solidFill>
                    <a:latin typeface="Arial"/>
                  </a:rPr>
                  <a:t>Increase the national staff  operational team  to better deliver programs, activities and services</a:t>
                </a:r>
              </a:p>
              <a:p>
                <a:pPr marL="179979" lvl="1" indent="-179979" defTabSz="957150">
                  <a:spcBef>
                    <a:spcPts val="400"/>
                  </a:spcBef>
                  <a:buFont typeface="Arial" charset="0"/>
                  <a:buChar char="•"/>
                </a:pPr>
                <a:r>
                  <a:rPr lang="en-US" sz="650" dirty="0">
                    <a:solidFill>
                      <a:schemeClr val="tx2"/>
                    </a:solidFill>
                    <a:latin typeface="Arial"/>
                  </a:rPr>
                  <a:t>Secure administrative support at a national level.</a:t>
                </a:r>
              </a:p>
              <a:p>
                <a:pPr marL="179979" lvl="1" indent="-179979" defTabSz="957150">
                  <a:spcBef>
                    <a:spcPts val="400"/>
                  </a:spcBef>
                  <a:buFont typeface="Arial" charset="0"/>
                  <a:buChar char="•"/>
                </a:pPr>
                <a:endParaRPr lang="en-US" sz="700" dirty="0">
                  <a:solidFill>
                    <a:schemeClr val="tx2"/>
                  </a:solidFill>
                  <a:latin typeface="Arial"/>
                </a:endParaRPr>
              </a:p>
            </p:txBody>
          </p:sp>
        </p:grpSp>
        <p:sp>
          <p:nvSpPr>
            <p:cNvPr id="14" name="Rectangle 13"/>
            <p:cNvSpPr>
              <a:spLocks noChangeArrowheads="1"/>
            </p:cNvSpPr>
            <p:nvPr>
              <p:custDataLst>
                <p:tags r:id="rId1"/>
              </p:custDataLst>
            </p:nvPr>
          </p:nvSpPr>
          <p:spPr bwMode="auto">
            <a:xfrm>
              <a:off x="531182" y="3423589"/>
              <a:ext cx="2773681" cy="2453940"/>
            </a:xfrm>
            <a:prstGeom prst="rect">
              <a:avLst/>
            </a:prstGeom>
            <a:noFill/>
            <a:ln w="12700" algn="ctr">
              <a:solidFill>
                <a:schemeClr val="accent1"/>
              </a:solidFill>
              <a:miter lim="800000"/>
              <a:headEnd type="none" w="sm" len="sm"/>
              <a:tailEnd type="none" w="sm" len="sm"/>
            </a:ln>
          </p:spPr>
          <p:txBody>
            <a:bodyPr lIns="50400" tIns="50400" rIns="50400" bIns="50400"/>
            <a:lstStyle/>
            <a:p>
              <a:pPr marL="179979" lvl="1" indent="-179979" defTabSz="957150">
                <a:spcBef>
                  <a:spcPts val="400"/>
                </a:spcBef>
                <a:buFont typeface="Arial" charset="0"/>
                <a:buChar char="•"/>
              </a:pPr>
              <a:r>
                <a:rPr lang="en-US" sz="650" dirty="0">
                  <a:solidFill>
                    <a:schemeClr val="tx2"/>
                  </a:solidFill>
                  <a:latin typeface="Arial"/>
                </a:rPr>
                <a:t>Governing Committee and Terms of Reference established by August 2016.</a:t>
              </a:r>
            </a:p>
            <a:p>
              <a:pPr marL="179979" lvl="1" indent="-179979" defTabSz="957150">
                <a:spcBef>
                  <a:spcPts val="400"/>
                </a:spcBef>
                <a:buFont typeface="Arial" charset="0"/>
                <a:buChar char="•"/>
              </a:pPr>
              <a:r>
                <a:rPr lang="en-US" sz="650" dirty="0">
                  <a:solidFill>
                    <a:schemeClr val="tx2"/>
                  </a:solidFill>
                  <a:latin typeface="Arial"/>
                </a:rPr>
                <a:t>Pathways framework completed by June  2017 and ready for implementation into the 2017/2018 season.</a:t>
              </a:r>
            </a:p>
            <a:p>
              <a:pPr marL="179979" lvl="1" indent="-179979" defTabSz="957150">
                <a:spcBef>
                  <a:spcPts val="400"/>
                </a:spcBef>
                <a:buFont typeface="Arial" charset="0"/>
                <a:buChar char="•"/>
              </a:pPr>
              <a:r>
                <a:rPr lang="en-US" sz="650" dirty="0">
                  <a:solidFill>
                    <a:schemeClr val="tx2"/>
                  </a:solidFill>
                  <a:latin typeface="Arial"/>
                </a:rPr>
                <a:t>5% growth increase in certification for grading levels 1 – 4 from the 2017/2018 season based on the 2014/2015 datasets.</a:t>
              </a:r>
            </a:p>
            <a:p>
              <a:pPr marL="179979" lvl="1" indent="-179979" defTabSz="957150">
                <a:spcBef>
                  <a:spcPts val="400"/>
                </a:spcBef>
                <a:buFont typeface="Arial" charset="0"/>
                <a:buChar char="•"/>
              </a:pPr>
              <a:r>
                <a:rPr lang="en-US" sz="650" dirty="0">
                  <a:solidFill>
                    <a:schemeClr val="tx2"/>
                  </a:solidFill>
                  <a:latin typeface="Arial"/>
                </a:rPr>
                <a:t>Performance of the framework measured by surveying users of the framework at the completion of each season.</a:t>
              </a:r>
            </a:p>
          </p:txBody>
        </p:sp>
        <p:sp>
          <p:nvSpPr>
            <p:cNvPr id="15" name="Rectangle 14"/>
            <p:cNvSpPr>
              <a:spLocks noChangeArrowheads="1"/>
            </p:cNvSpPr>
            <p:nvPr>
              <p:custDataLst>
                <p:tags r:id="rId2"/>
              </p:custDataLst>
            </p:nvPr>
          </p:nvSpPr>
          <p:spPr bwMode="auto">
            <a:xfrm>
              <a:off x="3507846" y="3423591"/>
              <a:ext cx="2773681" cy="2453940"/>
            </a:xfrm>
            <a:prstGeom prst="rect">
              <a:avLst/>
            </a:prstGeom>
            <a:noFill/>
            <a:ln w="12700" algn="ctr">
              <a:solidFill>
                <a:schemeClr val="accent1"/>
              </a:solidFill>
              <a:miter lim="800000"/>
              <a:headEnd type="none" w="sm" len="sm"/>
              <a:tailEnd type="none" w="sm" len="sm"/>
            </a:ln>
          </p:spPr>
          <p:txBody>
            <a:bodyPr lIns="50400" tIns="50400" rIns="50400" bIns="50400"/>
            <a:lstStyle/>
            <a:p>
              <a:pPr marL="179979" lvl="1" indent="-179979" defTabSz="957150">
                <a:spcBef>
                  <a:spcPts val="400"/>
                </a:spcBef>
                <a:buFont typeface="Arial" charset="0"/>
                <a:buChar char="•"/>
              </a:pPr>
              <a:r>
                <a:rPr lang="en-US" sz="650" dirty="0">
                  <a:solidFill>
                    <a:schemeClr val="tx2"/>
                  </a:solidFill>
                  <a:latin typeface="Arial"/>
                </a:rPr>
                <a:t>Working party and Terms of Reference established by August 2016.</a:t>
              </a:r>
            </a:p>
            <a:p>
              <a:pPr marL="179979" lvl="1" indent="-179979" defTabSz="957150">
                <a:spcBef>
                  <a:spcPts val="400"/>
                </a:spcBef>
                <a:buFont typeface="Arial" charset="0"/>
                <a:buChar char="•"/>
              </a:pPr>
              <a:r>
                <a:rPr lang="en-US" sz="650" dirty="0">
                  <a:solidFill>
                    <a:schemeClr val="tx2"/>
                  </a:solidFill>
                  <a:latin typeface="Arial"/>
                </a:rPr>
                <a:t>Recruitment and retention framework completed by August 2017</a:t>
              </a:r>
            </a:p>
            <a:p>
              <a:pPr marL="179979" lvl="1" indent="-179979" defTabSz="957150">
                <a:spcBef>
                  <a:spcPts val="400"/>
                </a:spcBef>
                <a:buFont typeface="Arial" charset="0"/>
                <a:buChar char="•"/>
              </a:pPr>
              <a:r>
                <a:rPr lang="en-US" sz="650" dirty="0">
                  <a:solidFill>
                    <a:schemeClr val="tx2"/>
                  </a:solidFill>
                  <a:latin typeface="Arial"/>
                </a:rPr>
                <a:t>Framework promoted locally and nationally from September 2017</a:t>
              </a:r>
            </a:p>
            <a:p>
              <a:pPr marL="179979" lvl="1" indent="-179979" defTabSz="957150">
                <a:spcBef>
                  <a:spcPts val="400"/>
                </a:spcBef>
                <a:buFont typeface="Arial" charset="0"/>
                <a:buChar char="•"/>
              </a:pPr>
              <a:r>
                <a:rPr lang="en-US" sz="650" dirty="0">
                  <a:solidFill>
                    <a:schemeClr val="tx2"/>
                  </a:solidFill>
                  <a:latin typeface="Arial"/>
                </a:rPr>
                <a:t>5% growth increase in association umpire membership</a:t>
              </a:r>
            </a:p>
            <a:p>
              <a:pPr marL="179979" lvl="1" indent="-179979" defTabSz="957150">
                <a:spcBef>
                  <a:spcPts val="400"/>
                </a:spcBef>
                <a:buFont typeface="Arial" charset="0"/>
                <a:buChar char="•"/>
              </a:pPr>
              <a:r>
                <a:rPr lang="en-US" sz="650" dirty="0">
                  <a:solidFill>
                    <a:schemeClr val="tx2"/>
                  </a:solidFill>
                  <a:latin typeface="Arial"/>
                </a:rPr>
                <a:t>Turnover rate of umpires  in the national program kept to 5% per annum </a:t>
              </a:r>
            </a:p>
            <a:p>
              <a:pPr marL="179979" lvl="1" indent="-179979" defTabSz="957150">
                <a:spcBef>
                  <a:spcPts val="400"/>
                </a:spcBef>
                <a:buFont typeface="Arial" charset="0"/>
                <a:buChar char="•"/>
              </a:pPr>
              <a:r>
                <a:rPr lang="en-US" sz="650" dirty="0">
                  <a:solidFill>
                    <a:schemeClr val="tx2"/>
                  </a:solidFill>
                  <a:latin typeface="Arial"/>
                </a:rPr>
                <a:t>Performance of the framework  measured by surveying users of the framework at the completion of each season</a:t>
              </a:r>
            </a:p>
          </p:txBody>
        </p:sp>
        <p:sp>
          <p:nvSpPr>
            <p:cNvPr id="16" name="Rectangle 15"/>
            <p:cNvSpPr>
              <a:spLocks noChangeArrowheads="1"/>
            </p:cNvSpPr>
            <p:nvPr>
              <p:custDataLst>
                <p:tags r:id="rId3"/>
              </p:custDataLst>
            </p:nvPr>
          </p:nvSpPr>
          <p:spPr bwMode="auto">
            <a:xfrm>
              <a:off x="6478588" y="3423591"/>
              <a:ext cx="2773681" cy="2453939"/>
            </a:xfrm>
            <a:prstGeom prst="rect">
              <a:avLst/>
            </a:prstGeom>
            <a:noFill/>
            <a:ln w="12700" algn="ctr">
              <a:solidFill>
                <a:schemeClr val="accent1"/>
              </a:solidFill>
              <a:miter lim="800000"/>
              <a:headEnd type="none" w="sm" len="sm"/>
              <a:tailEnd type="none" w="sm" len="sm"/>
            </a:ln>
          </p:spPr>
          <p:txBody>
            <a:bodyPr lIns="50400" tIns="50400" rIns="50400" bIns="50400"/>
            <a:lstStyle/>
            <a:p>
              <a:pPr marL="179979" lvl="1" indent="-179979" defTabSz="957150">
                <a:spcBef>
                  <a:spcPts val="400"/>
                </a:spcBef>
                <a:buFont typeface="Arial" charset="0"/>
                <a:buChar char="•"/>
              </a:pPr>
              <a:r>
                <a:rPr lang="en-US" sz="650" dirty="0">
                  <a:solidFill>
                    <a:schemeClr val="tx2"/>
                  </a:solidFill>
                  <a:latin typeface="Arial"/>
                </a:rPr>
                <a:t>Working party and Terms of Reference established by August 2016</a:t>
              </a:r>
            </a:p>
            <a:p>
              <a:pPr marL="179979" lvl="1" indent="-179979" defTabSz="957150">
                <a:spcBef>
                  <a:spcPts val="400"/>
                </a:spcBef>
                <a:buFont typeface="Arial" charset="0"/>
                <a:buChar char="•"/>
              </a:pPr>
              <a:r>
                <a:rPr lang="en-US" sz="650" dirty="0">
                  <a:solidFill>
                    <a:schemeClr val="tx2"/>
                  </a:solidFill>
                  <a:latin typeface="Arial"/>
                </a:rPr>
                <a:t>Pathways framework in operation for the 2017/2018 season</a:t>
              </a:r>
            </a:p>
            <a:p>
              <a:pPr marL="179979" lvl="1" indent="-179979" defTabSz="957150">
                <a:spcBef>
                  <a:spcPts val="400"/>
                </a:spcBef>
                <a:buFont typeface="Arial" charset="0"/>
                <a:buChar char="•"/>
              </a:pPr>
              <a:r>
                <a:rPr lang="en-US" sz="650" dirty="0">
                  <a:solidFill>
                    <a:schemeClr val="tx2"/>
                  </a:solidFill>
                  <a:latin typeface="Arial"/>
                </a:rPr>
                <a:t>5% growth increase in certification at grading levels 1 – 4 from the 2017/2018 season based on the 2014/2015 datasets.</a:t>
              </a:r>
            </a:p>
            <a:p>
              <a:pPr marL="179979" lvl="1" indent="-179979" defTabSz="957150">
                <a:spcBef>
                  <a:spcPts val="400"/>
                </a:spcBef>
                <a:buFont typeface="Arial" charset="0"/>
                <a:buChar char="•"/>
              </a:pPr>
              <a:r>
                <a:rPr lang="en-US" sz="650" dirty="0">
                  <a:solidFill>
                    <a:schemeClr val="tx2"/>
                  </a:solidFill>
                  <a:latin typeface="Arial"/>
                </a:rPr>
                <a:t>All level 4, 5 and 6 umpires have a mentor assigned to them from 2017/18 season</a:t>
              </a:r>
            </a:p>
            <a:p>
              <a:pPr marL="179979" lvl="1" indent="-179979" defTabSz="957150">
                <a:spcBef>
                  <a:spcPts val="400"/>
                </a:spcBef>
                <a:buFont typeface="Arial" charset="0"/>
                <a:buChar char="•"/>
              </a:pPr>
              <a:r>
                <a:rPr lang="en-US" sz="650" dirty="0">
                  <a:solidFill>
                    <a:schemeClr val="tx2"/>
                  </a:solidFill>
                  <a:latin typeface="Arial"/>
                </a:rPr>
                <a:t>All national tournaments are staffed with two trained assessors from 2017/18 season</a:t>
              </a:r>
            </a:p>
            <a:p>
              <a:pPr marL="179979" lvl="1" indent="-179979" defTabSz="957150">
                <a:spcBef>
                  <a:spcPts val="400"/>
                </a:spcBef>
                <a:buFont typeface="Arial" charset="0"/>
                <a:buChar char="•"/>
              </a:pPr>
              <a:r>
                <a:rPr lang="en-US" sz="650" dirty="0">
                  <a:solidFill>
                    <a:schemeClr val="tx2"/>
                  </a:solidFill>
                  <a:latin typeface="Arial"/>
                </a:rPr>
                <a:t>Performance of the framework  measured by surveying users of the framework at the completion of each season</a:t>
              </a:r>
            </a:p>
            <a:p>
              <a:pPr marL="179979" lvl="1" indent="-179979" defTabSz="957150">
                <a:spcBef>
                  <a:spcPts val="400"/>
                </a:spcBef>
                <a:buFont typeface="Arial" charset="0"/>
                <a:buChar char="•"/>
              </a:pPr>
              <a:endParaRPr lang="en-US" sz="700" b="1" i="1" dirty="0">
                <a:solidFill>
                  <a:srgbClr val="FF0000"/>
                </a:solidFill>
                <a:latin typeface="Arial"/>
              </a:endParaRPr>
            </a:p>
          </p:txBody>
        </p:sp>
        <p:sp>
          <p:nvSpPr>
            <p:cNvPr id="17" name="Rectangle 16"/>
            <p:cNvSpPr>
              <a:spLocks noChangeArrowheads="1"/>
            </p:cNvSpPr>
            <p:nvPr>
              <p:custDataLst>
                <p:tags r:id="rId4"/>
              </p:custDataLst>
            </p:nvPr>
          </p:nvSpPr>
          <p:spPr bwMode="auto">
            <a:xfrm>
              <a:off x="9470817" y="3423591"/>
              <a:ext cx="2773681" cy="2453940"/>
            </a:xfrm>
            <a:prstGeom prst="rect">
              <a:avLst/>
            </a:prstGeom>
            <a:noFill/>
            <a:ln w="12700" algn="ctr">
              <a:solidFill>
                <a:schemeClr val="accent1"/>
              </a:solidFill>
              <a:miter lim="800000"/>
              <a:headEnd type="none" w="sm" len="sm"/>
              <a:tailEnd type="none" w="sm" len="sm"/>
            </a:ln>
          </p:spPr>
          <p:txBody>
            <a:bodyPr lIns="50400" tIns="50400" rIns="50400" bIns="50400"/>
            <a:lstStyle/>
            <a:p>
              <a:pPr marL="179979" lvl="1" indent="-179979" defTabSz="957150">
                <a:spcBef>
                  <a:spcPts val="400"/>
                </a:spcBef>
                <a:buFont typeface="Arial" charset="0"/>
                <a:buChar char="•"/>
              </a:pPr>
              <a:r>
                <a:rPr lang="en-US" sz="650" dirty="0">
                  <a:solidFill>
                    <a:schemeClr val="tx2"/>
                  </a:solidFill>
                  <a:latin typeface="Arial"/>
                </a:rPr>
                <a:t>Softball fraternity are well informed of the Strategic Plan </a:t>
              </a:r>
            </a:p>
            <a:p>
              <a:pPr marL="179979" lvl="1" indent="-179979" defTabSz="957150">
                <a:spcBef>
                  <a:spcPts val="400"/>
                </a:spcBef>
                <a:buFont typeface="Arial" charset="0"/>
                <a:buChar char="•"/>
              </a:pPr>
              <a:r>
                <a:rPr lang="en-US" sz="650" dirty="0">
                  <a:solidFill>
                    <a:schemeClr val="tx2"/>
                  </a:solidFill>
                  <a:latin typeface="Arial"/>
                </a:rPr>
                <a:t>Communication strategy in place for the 2016/2017 softball season</a:t>
              </a:r>
            </a:p>
            <a:p>
              <a:pPr marL="179979" lvl="1" indent="-179979" defTabSz="957150">
                <a:spcBef>
                  <a:spcPts val="400"/>
                </a:spcBef>
                <a:buFont typeface="Arial" charset="0"/>
                <a:buChar char="•"/>
              </a:pPr>
              <a:r>
                <a:rPr lang="en-US" sz="650" dirty="0">
                  <a:solidFill>
                    <a:schemeClr val="tx2"/>
                  </a:solidFill>
                  <a:latin typeface="Arial"/>
                </a:rPr>
                <a:t>Stakeholder / partnership management plan fully implemented by  start of season 2017/2018</a:t>
              </a:r>
            </a:p>
            <a:p>
              <a:pPr marL="179979" lvl="1" indent="-179979" defTabSz="957150">
                <a:spcBef>
                  <a:spcPts val="400"/>
                </a:spcBef>
                <a:buFont typeface="Arial" charset="0"/>
                <a:buChar char="•"/>
              </a:pPr>
              <a:r>
                <a:rPr lang="en-US" sz="650" dirty="0">
                  <a:solidFill>
                    <a:schemeClr val="tx2"/>
                  </a:solidFill>
                  <a:latin typeface="Arial"/>
                </a:rPr>
                <a:t>Softball calendar of events created and implemented prior to the beginning of each season. </a:t>
              </a:r>
            </a:p>
            <a:p>
              <a:pPr marL="179979" lvl="1" indent="-179979" defTabSz="957150">
                <a:spcBef>
                  <a:spcPts val="400"/>
                </a:spcBef>
                <a:buFont typeface="Arial" charset="0"/>
                <a:buChar char="•"/>
              </a:pPr>
              <a:r>
                <a:rPr lang="en-US" sz="650" dirty="0">
                  <a:solidFill>
                    <a:schemeClr val="tx2"/>
                  </a:solidFill>
                  <a:latin typeface="Arial"/>
                </a:rPr>
                <a:t>Members highly satisfied with services and programs by surveying our community and stakeholders at the completion of each season</a:t>
              </a:r>
            </a:p>
            <a:p>
              <a:pPr marL="179979" lvl="1" indent="-179979" defTabSz="957150">
                <a:spcBef>
                  <a:spcPts val="400"/>
                </a:spcBef>
                <a:buFont typeface="Arial" charset="0"/>
                <a:buChar char="•"/>
              </a:pPr>
              <a:r>
                <a:rPr lang="en-US" sz="650" dirty="0">
                  <a:solidFill>
                    <a:schemeClr val="tx2"/>
                  </a:solidFill>
                  <a:latin typeface="Arial"/>
                </a:rPr>
                <a:t>Administrative support secured by September 2016.</a:t>
              </a:r>
            </a:p>
          </p:txBody>
        </p:sp>
        <p:sp>
          <p:nvSpPr>
            <p:cNvPr id="20" name="Text Box 10"/>
            <p:cNvSpPr txBox="1">
              <a:spLocks noChangeArrowheads="1"/>
            </p:cNvSpPr>
            <p:nvPr>
              <p:custDataLst>
                <p:tags r:id="rId5"/>
              </p:custDataLst>
            </p:nvPr>
          </p:nvSpPr>
          <p:spPr bwMode="auto">
            <a:xfrm>
              <a:off x="537810" y="1004119"/>
              <a:ext cx="11690384" cy="263151"/>
            </a:xfrm>
            <a:prstGeom prst="rect">
              <a:avLst/>
            </a:prstGeom>
            <a:solidFill>
              <a:schemeClr val="accent1"/>
            </a:solidFill>
            <a:ln w="12700" algn="ctr">
              <a:solidFill>
                <a:schemeClr val="accent1"/>
              </a:solidFill>
              <a:miter lim="800000"/>
              <a:headEnd/>
              <a:tailEnd type="none" w="sm" len="med"/>
            </a:ln>
          </p:spPr>
          <p:txBody>
            <a:bodyPr lIns="50400" tIns="50400" rIns="50400" bIns="50400" anchor="ctr" anchorCtr="1"/>
            <a:lstStyle/>
            <a:p>
              <a:pPr defTabSz="957150"/>
              <a:r>
                <a:rPr lang="en-US" sz="1000" b="1" dirty="0">
                  <a:solidFill>
                    <a:schemeClr val="bg1"/>
                  </a:solidFill>
                </a:rPr>
                <a:t>Strategic Objectives and Measures</a:t>
              </a:r>
            </a:p>
          </p:txBody>
        </p:sp>
      </p:grpSp>
    </p:spTree>
    <p:extLst>
      <p:ext uri="{BB962C8B-B14F-4D97-AF65-F5344CB8AC3E}">
        <p14:creationId xmlns:p14="http://schemas.microsoft.com/office/powerpoint/2010/main" val="350255870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116632"/>
            <a:ext cx="8229600" cy="1440160"/>
          </a:xfrm>
        </p:spPr>
        <p:txBody>
          <a:bodyPr>
            <a:normAutofit/>
          </a:bodyPr>
          <a:lstStyle/>
          <a:p>
            <a:r>
              <a:rPr lang="en-US" sz="3200" b="1" u="sng" dirty="0"/>
              <a:t>SNZ National Umpiring Staff (NUS)</a:t>
            </a:r>
            <a:br>
              <a:rPr lang="en-US" sz="3200" b="1" u="sng" dirty="0"/>
            </a:br>
            <a:r>
              <a:rPr lang="en-US" sz="3200" b="1" u="sng" dirty="0"/>
              <a:t>Team Structure</a:t>
            </a:r>
            <a:endParaRPr lang="en-NZ" sz="3200" dirty="0"/>
          </a:p>
        </p:txBody>
      </p:sp>
      <p:graphicFrame>
        <p:nvGraphicFramePr>
          <p:cNvPr id="6" name="Diagram 5"/>
          <p:cNvGraphicFramePr/>
          <p:nvPr>
            <p:extLst>
              <p:ext uri="{D42A27DB-BD31-4B8C-83A1-F6EECF244321}">
                <p14:modId xmlns:p14="http://schemas.microsoft.com/office/powerpoint/2010/main" val="1465734517"/>
              </p:ext>
            </p:extLst>
          </p:nvPr>
        </p:nvGraphicFramePr>
        <p:xfrm>
          <a:off x="206157" y="1494658"/>
          <a:ext cx="8706683" cy="478309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400364293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ZzIychWr0UKBrpq4w0fbIA"/>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SLbsce.ZUuP6SpyHCXWr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xnv08c53fku_9mKXyt_6z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Y8wWcOIsH0KSbWb.qt29j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1YMHaYJPokuBauSveuGGI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2gWMf1RIQEyUI1Pso98M3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njksaqLSXkOa8KgzVWQxU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6c8Vu3XPz0i8bzQ1s82Kr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ejjsJ7jS4E.l9wBVV1gyp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cubHuYGpAUi7Bwg0Z1vVr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VT7Av3p.T0CEpQBfk.pF3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bV6P0.YMLU.V7YYqY1JL8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lP6orLLfa0muCwqqVw9LPg"/>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Angles</Template>
  <TotalTime>590</TotalTime>
  <Words>790</Words>
  <Application>Microsoft Office PowerPoint</Application>
  <PresentationFormat>On-screen Show (4:3)</PresentationFormat>
  <Paragraphs>97</Paragraphs>
  <Slides>3</Slides>
  <Notes>1</Notes>
  <HiddenSlides>0</HiddenSlides>
  <MMClips>0</MMClips>
  <ScaleCrop>false</ScaleCrop>
  <HeadingPairs>
    <vt:vector size="6" baseType="variant">
      <vt:variant>
        <vt:lpstr>Fonts Used</vt:lpstr>
      </vt:variant>
      <vt:variant>
        <vt:i4>2</vt:i4>
      </vt:variant>
      <vt:variant>
        <vt:lpstr>Theme</vt:lpstr>
      </vt:variant>
      <vt:variant>
        <vt:i4>1</vt:i4>
      </vt:variant>
      <vt:variant>
        <vt:lpstr>Slide Titles</vt:lpstr>
      </vt:variant>
      <vt:variant>
        <vt:i4>3</vt:i4>
      </vt:variant>
    </vt:vector>
  </HeadingPairs>
  <TitlesOfParts>
    <vt:vector size="6" baseType="lpstr">
      <vt:lpstr>Arial</vt:lpstr>
      <vt:lpstr>Calibri</vt:lpstr>
      <vt:lpstr>Office Theme</vt:lpstr>
      <vt:lpstr>Softball New Zealand Umpires Strategic Plan 2016 – 2021  </vt:lpstr>
      <vt:lpstr>PowerPoint Presentation</vt:lpstr>
      <vt:lpstr>SNZ National Umpiring Staff (NUS) Team Structure</vt:lpstr>
    </vt:vector>
  </TitlesOfParts>
  <Company>eMachines</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Valued eMachines Customer</dc:creator>
  <cp:lastModifiedBy>Wiremu Tamaki</cp:lastModifiedBy>
  <cp:revision>20</cp:revision>
  <cp:lastPrinted>2016-04-27T03:38:29Z</cp:lastPrinted>
  <dcterms:created xsi:type="dcterms:W3CDTF">2016-03-04T22:59:49Z</dcterms:created>
  <dcterms:modified xsi:type="dcterms:W3CDTF">2018-07-07T22:44:5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AdHocReviewCycleID">
    <vt:i4>-1689393841</vt:i4>
  </property>
  <property fmtid="{D5CDD505-2E9C-101B-9397-08002B2CF9AE}" pid="3" name="_NewReviewCycle">
    <vt:lpwstr/>
  </property>
  <property fmtid="{D5CDD505-2E9C-101B-9397-08002B2CF9AE}" pid="4" name="_EmailSubject">
    <vt:lpwstr>Replace my original at home with this one.......</vt:lpwstr>
  </property>
  <property fmtid="{D5CDD505-2E9C-101B-9397-08002B2CF9AE}" pid="5" name="_AuthorEmail">
    <vt:lpwstr>wiremu.tamaki@stats.govt.nz</vt:lpwstr>
  </property>
  <property fmtid="{D5CDD505-2E9C-101B-9397-08002B2CF9AE}" pid="6" name="_AuthorEmailDisplayName">
    <vt:lpwstr>Wiremu Tamaki</vt:lpwstr>
  </property>
</Properties>
</file>